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1"/>
  </p:notesMasterIdLst>
  <p:sldIdLst>
    <p:sldId id="292" r:id="rId2"/>
    <p:sldId id="293" r:id="rId3"/>
    <p:sldId id="296" r:id="rId4"/>
    <p:sldId id="286" r:id="rId5"/>
    <p:sldId id="287" r:id="rId6"/>
    <p:sldId id="291" r:id="rId7"/>
    <p:sldId id="288" r:id="rId8"/>
    <p:sldId id="290" r:id="rId9"/>
    <p:sldId id="294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77">
          <p15:clr>
            <a:srgbClr val="A4A3A4"/>
          </p15:clr>
        </p15:guide>
        <p15:guide id="2" pos="378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E6A"/>
    <a:srgbClr val="3E6952"/>
    <a:srgbClr val="2456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4" autoAdjust="0"/>
    <p:restoredTop sz="95245" autoAdjust="0"/>
  </p:normalViewPr>
  <p:slideViewPr>
    <p:cSldViewPr snapToGrid="0" showGuides="1">
      <p:cViewPr varScale="1">
        <p:scale>
          <a:sx n="111" d="100"/>
          <a:sy n="111" d="100"/>
        </p:scale>
        <p:origin x="752" y="192"/>
      </p:cViewPr>
      <p:guideLst>
        <p:guide orient="horz" pos="2177"/>
        <p:guide pos="37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438023-E004-402C-8374-D42392036389}" type="datetimeFigureOut">
              <a:rPr lang="zh-CN" altLang="en-US" smtClean="0"/>
              <a:t>2021/6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AB1506-84B5-4E91-AEC8-89178F556D7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517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5975608" y="2"/>
            <a:ext cx="6216393" cy="6857999"/>
          </a:xfrm>
          <a:custGeom>
            <a:avLst/>
            <a:gdLst>
              <a:gd name="connsiteX0" fmla="*/ 6216393 w 6216393"/>
              <a:gd name="connsiteY0" fmla="*/ 0 h 6857999"/>
              <a:gd name="connsiteX1" fmla="*/ 6216393 w 6216393"/>
              <a:gd name="connsiteY1" fmla="*/ 6311138 h 6857999"/>
              <a:gd name="connsiteX2" fmla="*/ 6003352 w 6216393"/>
              <a:gd name="connsiteY2" fmla="*/ 6511952 h 6857999"/>
              <a:gd name="connsiteX3" fmla="*/ 5676976 w 6216393"/>
              <a:gd name="connsiteY3" fmla="*/ 6762854 h 6857999"/>
              <a:gd name="connsiteX4" fmla="*/ 5504535 w 6216393"/>
              <a:gd name="connsiteY4" fmla="*/ 6857999 h 6857999"/>
              <a:gd name="connsiteX5" fmla="*/ 3718931 w 6216393"/>
              <a:gd name="connsiteY5" fmla="*/ 6857999 h 6857999"/>
              <a:gd name="connsiteX6" fmla="*/ 3611422 w 6216393"/>
              <a:gd name="connsiteY6" fmla="*/ 6804188 h 6857999"/>
              <a:gd name="connsiteX7" fmla="*/ 3130386 w 6216393"/>
              <a:gd name="connsiteY7" fmla="*/ 6427075 h 6857999"/>
              <a:gd name="connsiteX8" fmla="*/ 553464 w 6216393"/>
              <a:gd name="connsiteY8" fmla="*/ 3693256 h 6857999"/>
              <a:gd name="connsiteX9" fmla="*/ 638342 w 6216393"/>
              <a:gd name="connsiteY9" fmla="*/ 820290 h 6857999"/>
              <a:gd name="connsiteX10" fmla="*/ 1508575 w 6216393"/>
              <a:gd name="connsiteY10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16393" h="6857999">
                <a:moveTo>
                  <a:pt x="6216393" y="0"/>
                </a:moveTo>
                <a:lnTo>
                  <a:pt x="6216393" y="6311138"/>
                </a:lnTo>
                <a:lnTo>
                  <a:pt x="6003352" y="6511952"/>
                </a:lnTo>
                <a:cubicBezTo>
                  <a:pt x="5901254" y="6608190"/>
                  <a:pt x="5791820" y="6691805"/>
                  <a:pt x="5676976" y="6762854"/>
                </a:cubicBezTo>
                <a:lnTo>
                  <a:pt x="5504535" y="6857999"/>
                </a:lnTo>
                <a:lnTo>
                  <a:pt x="3718931" y="6857999"/>
                </a:lnTo>
                <a:lnTo>
                  <a:pt x="3611422" y="6804188"/>
                </a:lnTo>
                <a:cubicBezTo>
                  <a:pt x="3437255" y="6705991"/>
                  <a:pt x="3274744" y="6580223"/>
                  <a:pt x="3130386" y="6427075"/>
                </a:cubicBezTo>
                <a:lnTo>
                  <a:pt x="553464" y="3693256"/>
                </a:lnTo>
                <a:cubicBezTo>
                  <a:pt x="-216445" y="2876470"/>
                  <a:pt x="-178444" y="1590199"/>
                  <a:pt x="638342" y="820290"/>
                </a:cubicBezTo>
                <a:lnTo>
                  <a:pt x="1508575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6112923" y="1967949"/>
            <a:ext cx="2496457" cy="2079860"/>
          </a:xfrm>
          <a:custGeom>
            <a:avLst/>
            <a:gdLst>
              <a:gd name="connsiteX0" fmla="*/ 0 w 2496457"/>
              <a:gd name="connsiteY0" fmla="*/ 0 h 2079860"/>
              <a:gd name="connsiteX1" fmla="*/ 2496457 w 2496457"/>
              <a:gd name="connsiteY1" fmla="*/ 0 h 2079860"/>
              <a:gd name="connsiteX2" fmla="*/ 2496457 w 2496457"/>
              <a:gd name="connsiteY2" fmla="*/ 2079860 h 2079860"/>
              <a:gd name="connsiteX3" fmla="*/ 0 w 2496457"/>
              <a:gd name="connsiteY3" fmla="*/ 2079860 h 207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6457" h="2079860">
                <a:moveTo>
                  <a:pt x="0" y="0"/>
                </a:moveTo>
                <a:lnTo>
                  <a:pt x="2496457" y="0"/>
                </a:lnTo>
                <a:lnTo>
                  <a:pt x="2496457" y="2079860"/>
                </a:lnTo>
                <a:lnTo>
                  <a:pt x="0" y="20798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6112923" y="4142361"/>
            <a:ext cx="2496457" cy="2110994"/>
          </a:xfrm>
          <a:custGeom>
            <a:avLst/>
            <a:gdLst>
              <a:gd name="connsiteX0" fmla="*/ 0 w 2496457"/>
              <a:gd name="connsiteY0" fmla="*/ 0 h 2110994"/>
              <a:gd name="connsiteX1" fmla="*/ 2496457 w 2496457"/>
              <a:gd name="connsiteY1" fmla="*/ 0 h 2110994"/>
              <a:gd name="connsiteX2" fmla="*/ 2496457 w 2496457"/>
              <a:gd name="connsiteY2" fmla="*/ 2110994 h 2110994"/>
              <a:gd name="connsiteX3" fmla="*/ 0 w 2496457"/>
              <a:gd name="connsiteY3" fmla="*/ 2110994 h 211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6457" h="2110994">
                <a:moveTo>
                  <a:pt x="0" y="0"/>
                </a:moveTo>
                <a:lnTo>
                  <a:pt x="2496457" y="0"/>
                </a:lnTo>
                <a:lnTo>
                  <a:pt x="2496457" y="2110994"/>
                </a:lnTo>
                <a:lnTo>
                  <a:pt x="0" y="21109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2"/>
          </p:nvPr>
        </p:nvSpPr>
        <p:spPr>
          <a:xfrm>
            <a:off x="8704718" y="1967949"/>
            <a:ext cx="2496457" cy="4285407"/>
          </a:xfrm>
          <a:custGeom>
            <a:avLst/>
            <a:gdLst>
              <a:gd name="connsiteX0" fmla="*/ 0 w 2496457"/>
              <a:gd name="connsiteY0" fmla="*/ 0 h 4285407"/>
              <a:gd name="connsiteX1" fmla="*/ 2496457 w 2496457"/>
              <a:gd name="connsiteY1" fmla="*/ 0 h 4285407"/>
              <a:gd name="connsiteX2" fmla="*/ 2496457 w 2496457"/>
              <a:gd name="connsiteY2" fmla="*/ 4285407 h 4285407"/>
              <a:gd name="connsiteX3" fmla="*/ 0 w 2496457"/>
              <a:gd name="connsiteY3" fmla="*/ 4285407 h 428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6457" h="4285407">
                <a:moveTo>
                  <a:pt x="0" y="0"/>
                </a:moveTo>
                <a:lnTo>
                  <a:pt x="2496457" y="0"/>
                </a:lnTo>
                <a:lnTo>
                  <a:pt x="2496457" y="4285407"/>
                </a:lnTo>
                <a:lnTo>
                  <a:pt x="0" y="428540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874712" y="4096481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3485356" y="1910099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2"/>
          </p:nvPr>
        </p:nvSpPr>
        <p:spPr>
          <a:xfrm>
            <a:off x="6096000" y="4096481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3"/>
          </p:nvPr>
        </p:nvSpPr>
        <p:spPr>
          <a:xfrm>
            <a:off x="8706644" y="1910099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6741003" y="2252974"/>
            <a:ext cx="4289853" cy="3240000"/>
          </a:xfrm>
          <a:custGeom>
            <a:avLst/>
            <a:gdLst>
              <a:gd name="connsiteX0" fmla="*/ 0 w 4289853"/>
              <a:gd name="connsiteY0" fmla="*/ 0 h 3240000"/>
              <a:gd name="connsiteX1" fmla="*/ 4289853 w 4289853"/>
              <a:gd name="connsiteY1" fmla="*/ 0 h 3240000"/>
              <a:gd name="connsiteX2" fmla="*/ 4289853 w 4289853"/>
              <a:gd name="connsiteY2" fmla="*/ 3240000 h 3240000"/>
              <a:gd name="connsiteX3" fmla="*/ 0 w 4289853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9853" h="3240000">
                <a:moveTo>
                  <a:pt x="0" y="0"/>
                </a:moveTo>
                <a:lnTo>
                  <a:pt x="4289853" y="0"/>
                </a:lnTo>
                <a:lnTo>
                  <a:pt x="4289853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1356872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3892159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2"/>
          </p:nvPr>
        </p:nvSpPr>
        <p:spPr>
          <a:xfrm>
            <a:off x="6427447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3"/>
          </p:nvPr>
        </p:nvSpPr>
        <p:spPr>
          <a:xfrm>
            <a:off x="8962735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874712" y="1866901"/>
            <a:ext cx="10442576" cy="2786182"/>
          </a:xfrm>
          <a:custGeom>
            <a:avLst/>
            <a:gdLst>
              <a:gd name="connsiteX0" fmla="*/ 0 w 10442576"/>
              <a:gd name="connsiteY0" fmla="*/ 0 h 2786182"/>
              <a:gd name="connsiteX1" fmla="*/ 10442576 w 10442576"/>
              <a:gd name="connsiteY1" fmla="*/ 0 h 2786182"/>
              <a:gd name="connsiteX2" fmla="*/ 10442576 w 10442576"/>
              <a:gd name="connsiteY2" fmla="*/ 2786182 h 2786182"/>
              <a:gd name="connsiteX3" fmla="*/ 0 w 10442576"/>
              <a:gd name="connsiteY3" fmla="*/ 2786182 h 2786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42576" h="2786182">
                <a:moveTo>
                  <a:pt x="0" y="0"/>
                </a:moveTo>
                <a:lnTo>
                  <a:pt x="10442576" y="0"/>
                </a:lnTo>
                <a:lnTo>
                  <a:pt x="10442576" y="2786182"/>
                </a:lnTo>
                <a:lnTo>
                  <a:pt x="0" y="278618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/>
          <p:cNvSpPr>
            <a:spLocks noGrp="1"/>
          </p:cNvSpPr>
          <p:nvPr>
            <p:ph type="pic" sz="quarter" idx="10"/>
          </p:nvPr>
        </p:nvSpPr>
        <p:spPr>
          <a:xfrm>
            <a:off x="1846634" y="2114550"/>
            <a:ext cx="2174132" cy="2071930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/>
          <p:cNvSpPr>
            <a:spLocks noGrp="1"/>
          </p:cNvSpPr>
          <p:nvPr>
            <p:ph type="pic" sz="quarter" idx="11"/>
          </p:nvPr>
        </p:nvSpPr>
        <p:spPr>
          <a:xfrm>
            <a:off x="5004896" y="2114550"/>
            <a:ext cx="2174132" cy="2071930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2"/>
          </p:nvPr>
        </p:nvSpPr>
        <p:spPr>
          <a:xfrm>
            <a:off x="8163158" y="2114550"/>
            <a:ext cx="2174132" cy="2071930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/>
          <p:cNvSpPr>
            <a:spLocks noGrp="1"/>
          </p:cNvSpPr>
          <p:nvPr>
            <p:ph type="pic" sz="quarter" idx="10"/>
          </p:nvPr>
        </p:nvSpPr>
        <p:spPr>
          <a:xfrm>
            <a:off x="1" y="1885950"/>
            <a:ext cx="2441233" cy="2423886"/>
          </a:xfrm>
          <a:custGeom>
            <a:avLst/>
            <a:gdLst>
              <a:gd name="connsiteX0" fmla="*/ 0 w 2441233"/>
              <a:gd name="connsiteY0" fmla="*/ 0 h 2423886"/>
              <a:gd name="connsiteX1" fmla="*/ 2441233 w 2441233"/>
              <a:gd name="connsiteY1" fmla="*/ 0 h 2423886"/>
              <a:gd name="connsiteX2" fmla="*/ 2441233 w 2441233"/>
              <a:gd name="connsiteY2" fmla="*/ 2423886 h 2423886"/>
              <a:gd name="connsiteX3" fmla="*/ 0 w 2441233"/>
              <a:gd name="connsiteY3" fmla="*/ 2423886 h 2423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1233" h="2423886">
                <a:moveTo>
                  <a:pt x="0" y="0"/>
                </a:moveTo>
                <a:lnTo>
                  <a:pt x="2441233" y="0"/>
                </a:lnTo>
                <a:lnTo>
                  <a:pt x="2441233" y="2423886"/>
                </a:lnTo>
                <a:lnTo>
                  <a:pt x="0" y="24238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/>
          <p:cNvSpPr>
            <a:spLocks noGrp="1"/>
          </p:cNvSpPr>
          <p:nvPr>
            <p:ph type="pic" sz="quarter" idx="12"/>
          </p:nvPr>
        </p:nvSpPr>
        <p:spPr>
          <a:xfrm>
            <a:off x="4875385" y="1885950"/>
            <a:ext cx="2441233" cy="2423886"/>
          </a:xfrm>
          <a:custGeom>
            <a:avLst/>
            <a:gdLst>
              <a:gd name="connsiteX0" fmla="*/ 0 w 2441233"/>
              <a:gd name="connsiteY0" fmla="*/ 0 h 2423886"/>
              <a:gd name="connsiteX1" fmla="*/ 2441233 w 2441233"/>
              <a:gd name="connsiteY1" fmla="*/ 0 h 2423886"/>
              <a:gd name="connsiteX2" fmla="*/ 2441233 w 2441233"/>
              <a:gd name="connsiteY2" fmla="*/ 2423886 h 2423886"/>
              <a:gd name="connsiteX3" fmla="*/ 0 w 2441233"/>
              <a:gd name="connsiteY3" fmla="*/ 2423886 h 2423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1233" h="2423886">
                <a:moveTo>
                  <a:pt x="0" y="0"/>
                </a:moveTo>
                <a:lnTo>
                  <a:pt x="2441233" y="0"/>
                </a:lnTo>
                <a:lnTo>
                  <a:pt x="2441233" y="2423886"/>
                </a:lnTo>
                <a:lnTo>
                  <a:pt x="0" y="24238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/>
          <p:cNvSpPr>
            <a:spLocks noGrp="1"/>
          </p:cNvSpPr>
          <p:nvPr>
            <p:ph type="pic" sz="quarter" idx="14"/>
          </p:nvPr>
        </p:nvSpPr>
        <p:spPr>
          <a:xfrm>
            <a:off x="9750768" y="1885950"/>
            <a:ext cx="2441233" cy="2423886"/>
          </a:xfrm>
          <a:custGeom>
            <a:avLst/>
            <a:gdLst>
              <a:gd name="connsiteX0" fmla="*/ 0 w 2441233"/>
              <a:gd name="connsiteY0" fmla="*/ 0 h 2423886"/>
              <a:gd name="connsiteX1" fmla="*/ 2441233 w 2441233"/>
              <a:gd name="connsiteY1" fmla="*/ 0 h 2423886"/>
              <a:gd name="connsiteX2" fmla="*/ 2441233 w 2441233"/>
              <a:gd name="connsiteY2" fmla="*/ 2423886 h 2423886"/>
              <a:gd name="connsiteX3" fmla="*/ 0 w 2441233"/>
              <a:gd name="connsiteY3" fmla="*/ 2423886 h 2423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1233" h="2423886">
                <a:moveTo>
                  <a:pt x="0" y="0"/>
                </a:moveTo>
                <a:lnTo>
                  <a:pt x="2441233" y="0"/>
                </a:lnTo>
                <a:lnTo>
                  <a:pt x="2441233" y="2423886"/>
                </a:lnTo>
                <a:lnTo>
                  <a:pt x="0" y="24238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4692603" y="0"/>
            <a:ext cx="2806794" cy="6858000"/>
          </a:xfrm>
          <a:custGeom>
            <a:avLst/>
            <a:gdLst>
              <a:gd name="connsiteX0" fmla="*/ 0 w 2806794"/>
              <a:gd name="connsiteY0" fmla="*/ 0 h 6858000"/>
              <a:gd name="connsiteX1" fmla="*/ 2806794 w 2806794"/>
              <a:gd name="connsiteY1" fmla="*/ 0 h 6858000"/>
              <a:gd name="connsiteX2" fmla="*/ 2806794 w 2806794"/>
              <a:gd name="connsiteY2" fmla="*/ 6858000 h 6858000"/>
              <a:gd name="connsiteX3" fmla="*/ 0 w 280679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794" h="6858000">
                <a:moveTo>
                  <a:pt x="0" y="0"/>
                </a:moveTo>
                <a:lnTo>
                  <a:pt x="2806794" y="0"/>
                </a:lnTo>
                <a:lnTo>
                  <a:pt x="2806794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894815" y="2069950"/>
            <a:ext cx="10402373" cy="4049002"/>
          </a:xfrm>
          <a:custGeom>
            <a:avLst/>
            <a:gdLst>
              <a:gd name="connsiteX0" fmla="*/ 7791996 w 10402373"/>
              <a:gd name="connsiteY0" fmla="*/ 0 h 4049002"/>
              <a:gd name="connsiteX1" fmla="*/ 10402373 w 10402373"/>
              <a:gd name="connsiteY1" fmla="*/ 0 h 4049002"/>
              <a:gd name="connsiteX2" fmla="*/ 10402373 w 10402373"/>
              <a:gd name="connsiteY2" fmla="*/ 2010936 h 4049002"/>
              <a:gd name="connsiteX3" fmla="*/ 10402373 w 10402373"/>
              <a:gd name="connsiteY3" fmla="*/ 2010937 h 4049002"/>
              <a:gd name="connsiteX4" fmla="*/ 10402373 w 10402373"/>
              <a:gd name="connsiteY4" fmla="*/ 4049002 h 4049002"/>
              <a:gd name="connsiteX5" fmla="*/ 7791997 w 10402373"/>
              <a:gd name="connsiteY5" fmla="*/ 4049002 h 4049002"/>
              <a:gd name="connsiteX6" fmla="*/ 7791996 w 10402373"/>
              <a:gd name="connsiteY6" fmla="*/ 4049002 h 4049002"/>
              <a:gd name="connsiteX7" fmla="*/ 5181621 w 10402373"/>
              <a:gd name="connsiteY7" fmla="*/ 4049002 h 4049002"/>
              <a:gd name="connsiteX8" fmla="*/ 5181621 w 10402373"/>
              <a:gd name="connsiteY8" fmla="*/ 2010936 h 4049002"/>
              <a:gd name="connsiteX9" fmla="*/ 7791996 w 10402373"/>
              <a:gd name="connsiteY9" fmla="*/ 2010936 h 4049002"/>
              <a:gd name="connsiteX10" fmla="*/ 0 w 10402373"/>
              <a:gd name="connsiteY10" fmla="*/ 0 h 4049002"/>
              <a:gd name="connsiteX11" fmla="*/ 2610377 w 10402373"/>
              <a:gd name="connsiteY11" fmla="*/ 0 h 4049002"/>
              <a:gd name="connsiteX12" fmla="*/ 2610377 w 10402373"/>
              <a:gd name="connsiteY12" fmla="*/ 2010936 h 4049002"/>
              <a:gd name="connsiteX13" fmla="*/ 5181620 w 10402373"/>
              <a:gd name="connsiteY13" fmla="*/ 2010936 h 4049002"/>
              <a:gd name="connsiteX14" fmla="*/ 5181620 w 10402373"/>
              <a:gd name="connsiteY14" fmla="*/ 4049002 h 4049002"/>
              <a:gd name="connsiteX15" fmla="*/ 2610377 w 10402373"/>
              <a:gd name="connsiteY15" fmla="*/ 4049002 h 4049002"/>
              <a:gd name="connsiteX16" fmla="*/ 2610376 w 10402373"/>
              <a:gd name="connsiteY16" fmla="*/ 4049002 h 4049002"/>
              <a:gd name="connsiteX17" fmla="*/ 0 w 10402373"/>
              <a:gd name="connsiteY17" fmla="*/ 4049002 h 404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402373" h="4049002">
                <a:moveTo>
                  <a:pt x="7791996" y="0"/>
                </a:moveTo>
                <a:lnTo>
                  <a:pt x="10402373" y="0"/>
                </a:lnTo>
                <a:lnTo>
                  <a:pt x="10402373" y="2010936"/>
                </a:lnTo>
                <a:lnTo>
                  <a:pt x="10402373" y="2010937"/>
                </a:lnTo>
                <a:lnTo>
                  <a:pt x="10402373" y="4049002"/>
                </a:lnTo>
                <a:lnTo>
                  <a:pt x="7791997" y="4049002"/>
                </a:lnTo>
                <a:lnTo>
                  <a:pt x="7791996" y="4049002"/>
                </a:lnTo>
                <a:lnTo>
                  <a:pt x="5181621" y="4049002"/>
                </a:lnTo>
                <a:lnTo>
                  <a:pt x="5181621" y="2010936"/>
                </a:lnTo>
                <a:lnTo>
                  <a:pt x="7791996" y="2010936"/>
                </a:lnTo>
                <a:close/>
                <a:moveTo>
                  <a:pt x="0" y="0"/>
                </a:moveTo>
                <a:lnTo>
                  <a:pt x="2610377" y="0"/>
                </a:lnTo>
                <a:lnTo>
                  <a:pt x="2610377" y="2010936"/>
                </a:lnTo>
                <a:lnTo>
                  <a:pt x="5181620" y="2010936"/>
                </a:lnTo>
                <a:lnTo>
                  <a:pt x="5181620" y="4049002"/>
                </a:lnTo>
                <a:lnTo>
                  <a:pt x="2610377" y="4049002"/>
                </a:lnTo>
                <a:lnTo>
                  <a:pt x="2610376" y="4049002"/>
                </a:lnTo>
                <a:lnTo>
                  <a:pt x="0" y="40490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2536392" y="0"/>
            <a:ext cx="7115486" cy="3431548"/>
          </a:xfrm>
          <a:custGeom>
            <a:avLst/>
            <a:gdLst>
              <a:gd name="connsiteX0" fmla="*/ 7115486 w 7115486"/>
              <a:gd name="connsiteY0" fmla="*/ 0 h 3431548"/>
              <a:gd name="connsiteX1" fmla="*/ 7100159 w 7115486"/>
              <a:gd name="connsiteY1" fmla="*/ 116024 h 3431548"/>
              <a:gd name="connsiteX2" fmla="*/ 6689807 w 7115486"/>
              <a:gd name="connsiteY2" fmla="*/ 910118 h 3431548"/>
              <a:gd name="connsiteX3" fmla="*/ 4678021 w 7115486"/>
              <a:gd name="connsiteY3" fmla="*/ 2970694 h 3431548"/>
              <a:gd name="connsiteX4" fmla="*/ 2515888 w 7115486"/>
              <a:gd name="connsiteY4" fmla="*/ 2996597 h 3431548"/>
              <a:gd name="connsiteX5" fmla="*/ 455313 w 7115486"/>
              <a:gd name="connsiteY5" fmla="*/ 984810 h 3431548"/>
              <a:gd name="connsiteX6" fmla="*/ 3321 w 7115486"/>
              <a:gd name="connsiteY6" fmla="*/ 55570 h 3431548"/>
              <a:gd name="connsiteX7" fmla="*/ 0 w 7115486"/>
              <a:gd name="connsiteY7" fmla="*/ 0 h 3431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15486" h="3431548">
                <a:moveTo>
                  <a:pt x="7115486" y="0"/>
                </a:moveTo>
                <a:lnTo>
                  <a:pt x="7100159" y="116024"/>
                </a:lnTo>
                <a:cubicBezTo>
                  <a:pt x="7047649" y="405799"/>
                  <a:pt x="6911021" y="683539"/>
                  <a:pt x="6689807" y="910118"/>
                </a:cubicBezTo>
                <a:lnTo>
                  <a:pt x="4678021" y="2970694"/>
                </a:lnTo>
                <a:cubicBezTo>
                  <a:pt x="4088117" y="3574903"/>
                  <a:pt x="3120098" y="3586501"/>
                  <a:pt x="2515888" y="2996597"/>
                </a:cubicBezTo>
                <a:lnTo>
                  <a:pt x="455313" y="984810"/>
                </a:lnTo>
                <a:cubicBezTo>
                  <a:pt x="190971" y="726728"/>
                  <a:pt x="40059" y="396271"/>
                  <a:pt x="3321" y="55570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1065242" y="2552704"/>
            <a:ext cx="2145098" cy="2146294"/>
          </a:xfrm>
          <a:custGeom>
            <a:avLst/>
            <a:gdLst>
              <a:gd name="connsiteX0" fmla="*/ 357523 w 2145098"/>
              <a:gd name="connsiteY0" fmla="*/ 0 h 2146294"/>
              <a:gd name="connsiteX1" fmla="*/ 1787575 w 2145098"/>
              <a:gd name="connsiteY1" fmla="*/ 0 h 2146294"/>
              <a:gd name="connsiteX2" fmla="*/ 2145098 w 2145098"/>
              <a:gd name="connsiteY2" fmla="*/ 357523 h 2146294"/>
              <a:gd name="connsiteX3" fmla="*/ 2145098 w 2145098"/>
              <a:gd name="connsiteY3" fmla="*/ 1788771 h 2146294"/>
              <a:gd name="connsiteX4" fmla="*/ 1787575 w 2145098"/>
              <a:gd name="connsiteY4" fmla="*/ 2146294 h 2146294"/>
              <a:gd name="connsiteX5" fmla="*/ 357523 w 2145098"/>
              <a:gd name="connsiteY5" fmla="*/ 2146294 h 2146294"/>
              <a:gd name="connsiteX6" fmla="*/ 0 w 2145098"/>
              <a:gd name="connsiteY6" fmla="*/ 1788771 h 2146294"/>
              <a:gd name="connsiteX7" fmla="*/ 0 w 2145098"/>
              <a:gd name="connsiteY7" fmla="*/ 357523 h 2146294"/>
              <a:gd name="connsiteX8" fmla="*/ 357523 w 2145098"/>
              <a:gd name="connsiteY8" fmla="*/ 0 h 214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098" h="2146294">
                <a:moveTo>
                  <a:pt x="357523" y="0"/>
                </a:moveTo>
                <a:lnTo>
                  <a:pt x="1787575" y="0"/>
                </a:lnTo>
                <a:cubicBezTo>
                  <a:pt x="1985030" y="0"/>
                  <a:pt x="2145098" y="160068"/>
                  <a:pt x="2145098" y="357523"/>
                </a:cubicBezTo>
                <a:lnTo>
                  <a:pt x="2145098" y="1788771"/>
                </a:lnTo>
                <a:cubicBezTo>
                  <a:pt x="2145098" y="1986226"/>
                  <a:pt x="1985030" y="2146294"/>
                  <a:pt x="1787575" y="2146294"/>
                </a:cubicBezTo>
                <a:lnTo>
                  <a:pt x="357523" y="2146294"/>
                </a:lnTo>
                <a:cubicBezTo>
                  <a:pt x="160068" y="2146294"/>
                  <a:pt x="0" y="1986226"/>
                  <a:pt x="0" y="1788771"/>
                </a:cubicBezTo>
                <a:lnTo>
                  <a:pt x="0" y="357523"/>
                </a:lnTo>
                <a:cubicBezTo>
                  <a:pt x="0" y="160068"/>
                  <a:pt x="160068" y="0"/>
                  <a:pt x="35752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3704047" y="2552704"/>
            <a:ext cx="2145098" cy="2146294"/>
          </a:xfrm>
          <a:custGeom>
            <a:avLst/>
            <a:gdLst>
              <a:gd name="connsiteX0" fmla="*/ 357523 w 2145098"/>
              <a:gd name="connsiteY0" fmla="*/ 0 h 2146294"/>
              <a:gd name="connsiteX1" fmla="*/ 1787575 w 2145098"/>
              <a:gd name="connsiteY1" fmla="*/ 0 h 2146294"/>
              <a:gd name="connsiteX2" fmla="*/ 2145098 w 2145098"/>
              <a:gd name="connsiteY2" fmla="*/ 357523 h 2146294"/>
              <a:gd name="connsiteX3" fmla="*/ 2145098 w 2145098"/>
              <a:gd name="connsiteY3" fmla="*/ 1788771 h 2146294"/>
              <a:gd name="connsiteX4" fmla="*/ 1787575 w 2145098"/>
              <a:gd name="connsiteY4" fmla="*/ 2146294 h 2146294"/>
              <a:gd name="connsiteX5" fmla="*/ 357523 w 2145098"/>
              <a:gd name="connsiteY5" fmla="*/ 2146294 h 2146294"/>
              <a:gd name="connsiteX6" fmla="*/ 0 w 2145098"/>
              <a:gd name="connsiteY6" fmla="*/ 1788771 h 2146294"/>
              <a:gd name="connsiteX7" fmla="*/ 0 w 2145098"/>
              <a:gd name="connsiteY7" fmla="*/ 357523 h 2146294"/>
              <a:gd name="connsiteX8" fmla="*/ 357523 w 2145098"/>
              <a:gd name="connsiteY8" fmla="*/ 0 h 214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098" h="2146294">
                <a:moveTo>
                  <a:pt x="357523" y="0"/>
                </a:moveTo>
                <a:lnTo>
                  <a:pt x="1787575" y="0"/>
                </a:lnTo>
                <a:cubicBezTo>
                  <a:pt x="1985030" y="0"/>
                  <a:pt x="2145098" y="160068"/>
                  <a:pt x="2145098" y="357523"/>
                </a:cubicBezTo>
                <a:lnTo>
                  <a:pt x="2145098" y="1788771"/>
                </a:lnTo>
                <a:cubicBezTo>
                  <a:pt x="2145098" y="1986226"/>
                  <a:pt x="1985030" y="2146294"/>
                  <a:pt x="1787575" y="2146294"/>
                </a:cubicBezTo>
                <a:lnTo>
                  <a:pt x="357523" y="2146294"/>
                </a:lnTo>
                <a:cubicBezTo>
                  <a:pt x="160068" y="2146294"/>
                  <a:pt x="0" y="1986226"/>
                  <a:pt x="0" y="1788771"/>
                </a:cubicBezTo>
                <a:lnTo>
                  <a:pt x="0" y="357523"/>
                </a:lnTo>
                <a:cubicBezTo>
                  <a:pt x="0" y="160068"/>
                  <a:pt x="160068" y="0"/>
                  <a:pt x="35752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2"/>
          </p:nvPr>
        </p:nvSpPr>
        <p:spPr>
          <a:xfrm>
            <a:off x="6342852" y="2552704"/>
            <a:ext cx="2145098" cy="2146294"/>
          </a:xfrm>
          <a:custGeom>
            <a:avLst/>
            <a:gdLst>
              <a:gd name="connsiteX0" fmla="*/ 357523 w 2145098"/>
              <a:gd name="connsiteY0" fmla="*/ 0 h 2146294"/>
              <a:gd name="connsiteX1" fmla="*/ 1787575 w 2145098"/>
              <a:gd name="connsiteY1" fmla="*/ 0 h 2146294"/>
              <a:gd name="connsiteX2" fmla="*/ 2145098 w 2145098"/>
              <a:gd name="connsiteY2" fmla="*/ 357523 h 2146294"/>
              <a:gd name="connsiteX3" fmla="*/ 2145098 w 2145098"/>
              <a:gd name="connsiteY3" fmla="*/ 1788771 h 2146294"/>
              <a:gd name="connsiteX4" fmla="*/ 1787575 w 2145098"/>
              <a:gd name="connsiteY4" fmla="*/ 2146294 h 2146294"/>
              <a:gd name="connsiteX5" fmla="*/ 357523 w 2145098"/>
              <a:gd name="connsiteY5" fmla="*/ 2146294 h 2146294"/>
              <a:gd name="connsiteX6" fmla="*/ 0 w 2145098"/>
              <a:gd name="connsiteY6" fmla="*/ 1788771 h 2146294"/>
              <a:gd name="connsiteX7" fmla="*/ 0 w 2145098"/>
              <a:gd name="connsiteY7" fmla="*/ 357523 h 2146294"/>
              <a:gd name="connsiteX8" fmla="*/ 357523 w 2145098"/>
              <a:gd name="connsiteY8" fmla="*/ 0 h 214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098" h="2146294">
                <a:moveTo>
                  <a:pt x="357523" y="0"/>
                </a:moveTo>
                <a:lnTo>
                  <a:pt x="1787575" y="0"/>
                </a:lnTo>
                <a:cubicBezTo>
                  <a:pt x="1985030" y="0"/>
                  <a:pt x="2145098" y="160068"/>
                  <a:pt x="2145098" y="357523"/>
                </a:cubicBezTo>
                <a:lnTo>
                  <a:pt x="2145098" y="1788771"/>
                </a:lnTo>
                <a:cubicBezTo>
                  <a:pt x="2145098" y="1986226"/>
                  <a:pt x="1985030" y="2146294"/>
                  <a:pt x="1787575" y="2146294"/>
                </a:cubicBezTo>
                <a:lnTo>
                  <a:pt x="357523" y="2146294"/>
                </a:lnTo>
                <a:cubicBezTo>
                  <a:pt x="160068" y="2146294"/>
                  <a:pt x="0" y="1986226"/>
                  <a:pt x="0" y="1788771"/>
                </a:cubicBezTo>
                <a:lnTo>
                  <a:pt x="0" y="357523"/>
                </a:lnTo>
                <a:cubicBezTo>
                  <a:pt x="0" y="160068"/>
                  <a:pt x="160068" y="0"/>
                  <a:pt x="35752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3"/>
          </p:nvPr>
        </p:nvSpPr>
        <p:spPr>
          <a:xfrm>
            <a:off x="8981657" y="2552703"/>
            <a:ext cx="2145100" cy="2146296"/>
          </a:xfrm>
          <a:custGeom>
            <a:avLst/>
            <a:gdLst>
              <a:gd name="connsiteX0" fmla="*/ 357524 w 2145100"/>
              <a:gd name="connsiteY0" fmla="*/ 0 h 2146296"/>
              <a:gd name="connsiteX1" fmla="*/ 1787576 w 2145100"/>
              <a:gd name="connsiteY1" fmla="*/ 0 h 2146296"/>
              <a:gd name="connsiteX2" fmla="*/ 2145100 w 2145100"/>
              <a:gd name="connsiteY2" fmla="*/ 357524 h 2146296"/>
              <a:gd name="connsiteX3" fmla="*/ 2145100 w 2145100"/>
              <a:gd name="connsiteY3" fmla="*/ 1788772 h 2146296"/>
              <a:gd name="connsiteX4" fmla="*/ 1787576 w 2145100"/>
              <a:gd name="connsiteY4" fmla="*/ 2146296 h 2146296"/>
              <a:gd name="connsiteX5" fmla="*/ 357524 w 2145100"/>
              <a:gd name="connsiteY5" fmla="*/ 2146296 h 2146296"/>
              <a:gd name="connsiteX6" fmla="*/ 0 w 2145100"/>
              <a:gd name="connsiteY6" fmla="*/ 1788772 h 2146296"/>
              <a:gd name="connsiteX7" fmla="*/ 0 w 2145100"/>
              <a:gd name="connsiteY7" fmla="*/ 357524 h 2146296"/>
              <a:gd name="connsiteX8" fmla="*/ 357524 w 2145100"/>
              <a:gd name="connsiteY8" fmla="*/ 0 h 214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100" h="2146296">
                <a:moveTo>
                  <a:pt x="357524" y="0"/>
                </a:moveTo>
                <a:lnTo>
                  <a:pt x="1787576" y="0"/>
                </a:lnTo>
                <a:cubicBezTo>
                  <a:pt x="1985031" y="0"/>
                  <a:pt x="2145100" y="160069"/>
                  <a:pt x="2145100" y="357524"/>
                </a:cubicBezTo>
                <a:lnTo>
                  <a:pt x="2145100" y="1788772"/>
                </a:lnTo>
                <a:cubicBezTo>
                  <a:pt x="2145100" y="1986227"/>
                  <a:pt x="1985031" y="2146296"/>
                  <a:pt x="1787576" y="2146296"/>
                </a:cubicBezTo>
                <a:lnTo>
                  <a:pt x="357524" y="2146296"/>
                </a:lnTo>
                <a:cubicBezTo>
                  <a:pt x="160069" y="2146296"/>
                  <a:pt x="0" y="1986227"/>
                  <a:pt x="0" y="1788772"/>
                </a:cubicBezTo>
                <a:lnTo>
                  <a:pt x="0" y="357524"/>
                </a:lnTo>
                <a:cubicBezTo>
                  <a:pt x="0" y="160069"/>
                  <a:pt x="160069" y="0"/>
                  <a:pt x="35752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4602941"/>
          </a:xfrm>
          <a:custGeom>
            <a:avLst/>
            <a:gdLst>
              <a:gd name="connsiteX0" fmla="*/ 0 w 12192000"/>
              <a:gd name="connsiteY0" fmla="*/ 0 h 4602941"/>
              <a:gd name="connsiteX1" fmla="*/ 12192000 w 12192000"/>
              <a:gd name="connsiteY1" fmla="*/ 0 h 4602941"/>
              <a:gd name="connsiteX2" fmla="*/ 12192000 w 12192000"/>
              <a:gd name="connsiteY2" fmla="*/ 4602941 h 4602941"/>
              <a:gd name="connsiteX3" fmla="*/ 0 w 12192000"/>
              <a:gd name="connsiteY3" fmla="*/ 4602941 h 460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602941">
                <a:moveTo>
                  <a:pt x="0" y="0"/>
                </a:moveTo>
                <a:lnTo>
                  <a:pt x="12192000" y="0"/>
                </a:lnTo>
                <a:lnTo>
                  <a:pt x="12192000" y="4602941"/>
                </a:lnTo>
                <a:lnTo>
                  <a:pt x="0" y="460294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Pr>
        <a:gradFill>
          <a:gsLst>
            <a:gs pos="0">
              <a:schemeClr val="bg2"/>
            </a:gs>
            <a:gs pos="29000">
              <a:schemeClr val="bg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1465100" y="1120466"/>
            <a:ext cx="4617068" cy="4617068"/>
          </a:xfrm>
          <a:custGeom>
            <a:avLst/>
            <a:gdLst>
              <a:gd name="connsiteX0" fmla="*/ 2308534 w 4617068"/>
              <a:gd name="connsiteY0" fmla="*/ 0 h 4617068"/>
              <a:gd name="connsiteX1" fmla="*/ 4617068 w 4617068"/>
              <a:gd name="connsiteY1" fmla="*/ 2308534 h 4617068"/>
              <a:gd name="connsiteX2" fmla="*/ 2308534 w 4617068"/>
              <a:gd name="connsiteY2" fmla="*/ 4617068 h 4617068"/>
              <a:gd name="connsiteX3" fmla="*/ 0 w 4617068"/>
              <a:gd name="connsiteY3" fmla="*/ 2308534 h 4617068"/>
              <a:gd name="connsiteX4" fmla="*/ 2308534 w 4617068"/>
              <a:gd name="connsiteY4" fmla="*/ 0 h 461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7068" h="4617068">
                <a:moveTo>
                  <a:pt x="2308534" y="0"/>
                </a:moveTo>
                <a:cubicBezTo>
                  <a:pt x="3583502" y="0"/>
                  <a:pt x="4617068" y="1033566"/>
                  <a:pt x="4617068" y="2308534"/>
                </a:cubicBezTo>
                <a:cubicBezTo>
                  <a:pt x="4617068" y="3583502"/>
                  <a:pt x="3583502" y="4617068"/>
                  <a:pt x="2308534" y="4617068"/>
                </a:cubicBezTo>
                <a:cubicBezTo>
                  <a:pt x="1033566" y="4617068"/>
                  <a:pt x="0" y="3583502"/>
                  <a:pt x="0" y="2308534"/>
                </a:cubicBezTo>
                <a:cubicBezTo>
                  <a:pt x="0" y="1033566"/>
                  <a:pt x="1033566" y="0"/>
                  <a:pt x="230853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0" y="2220686"/>
            <a:ext cx="12192000" cy="3468914"/>
          </a:xfrm>
          <a:custGeom>
            <a:avLst/>
            <a:gdLst>
              <a:gd name="connsiteX0" fmla="*/ 0 w 12192000"/>
              <a:gd name="connsiteY0" fmla="*/ 0 h 3468914"/>
              <a:gd name="connsiteX1" fmla="*/ 12192000 w 12192000"/>
              <a:gd name="connsiteY1" fmla="*/ 0 h 3468914"/>
              <a:gd name="connsiteX2" fmla="*/ 12192000 w 12192000"/>
              <a:gd name="connsiteY2" fmla="*/ 3468914 h 3468914"/>
              <a:gd name="connsiteX3" fmla="*/ 0 w 12192000"/>
              <a:gd name="connsiteY3" fmla="*/ 3468914 h 3468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68914">
                <a:moveTo>
                  <a:pt x="0" y="0"/>
                </a:moveTo>
                <a:lnTo>
                  <a:pt x="12192000" y="0"/>
                </a:lnTo>
                <a:lnTo>
                  <a:pt x="12192000" y="3468914"/>
                </a:lnTo>
                <a:lnTo>
                  <a:pt x="0" y="346891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7462968" y="928117"/>
            <a:ext cx="3362064" cy="4166399"/>
          </a:xfrm>
          <a:custGeom>
            <a:avLst/>
            <a:gdLst>
              <a:gd name="connsiteX0" fmla="*/ 0 w 3362064"/>
              <a:gd name="connsiteY0" fmla="*/ 0 h 4166399"/>
              <a:gd name="connsiteX1" fmla="*/ 3362064 w 3362064"/>
              <a:gd name="connsiteY1" fmla="*/ 0 h 4166399"/>
              <a:gd name="connsiteX2" fmla="*/ 3362064 w 3362064"/>
              <a:gd name="connsiteY2" fmla="*/ 4166399 h 4166399"/>
              <a:gd name="connsiteX3" fmla="*/ 0 w 3362064"/>
              <a:gd name="connsiteY3" fmla="*/ 4166399 h 4166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2064" h="4166399">
                <a:moveTo>
                  <a:pt x="0" y="0"/>
                </a:moveTo>
                <a:lnTo>
                  <a:pt x="3362064" y="0"/>
                </a:lnTo>
                <a:lnTo>
                  <a:pt x="3362064" y="4166399"/>
                </a:lnTo>
                <a:lnTo>
                  <a:pt x="0" y="41663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/>
          <p:cNvSpPr>
            <a:spLocks noGrp="1"/>
          </p:cNvSpPr>
          <p:nvPr>
            <p:ph type="pic" sz="quarter" idx="10"/>
          </p:nvPr>
        </p:nvSpPr>
        <p:spPr>
          <a:xfrm>
            <a:off x="0" y="1938796"/>
            <a:ext cx="4455268" cy="2178996"/>
          </a:xfrm>
          <a:custGeom>
            <a:avLst/>
            <a:gdLst>
              <a:gd name="connsiteX0" fmla="*/ 0 w 4455268"/>
              <a:gd name="connsiteY0" fmla="*/ 0 h 2178996"/>
              <a:gd name="connsiteX1" fmla="*/ 4455268 w 4455268"/>
              <a:gd name="connsiteY1" fmla="*/ 0 h 2178996"/>
              <a:gd name="connsiteX2" fmla="*/ 4455268 w 4455268"/>
              <a:gd name="connsiteY2" fmla="*/ 2178996 h 2178996"/>
              <a:gd name="connsiteX3" fmla="*/ 0 w 4455268"/>
              <a:gd name="connsiteY3" fmla="*/ 2178996 h 217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5268" h="2178996">
                <a:moveTo>
                  <a:pt x="0" y="0"/>
                </a:moveTo>
                <a:lnTo>
                  <a:pt x="4455268" y="0"/>
                </a:lnTo>
                <a:lnTo>
                  <a:pt x="4455268" y="2178996"/>
                </a:lnTo>
                <a:lnTo>
                  <a:pt x="0" y="217899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/>
          <p:cNvSpPr>
            <a:spLocks noGrp="1"/>
          </p:cNvSpPr>
          <p:nvPr>
            <p:ph type="pic" sz="quarter" idx="11"/>
          </p:nvPr>
        </p:nvSpPr>
        <p:spPr>
          <a:xfrm>
            <a:off x="4615774" y="1938796"/>
            <a:ext cx="5184842" cy="2178996"/>
          </a:xfrm>
          <a:custGeom>
            <a:avLst/>
            <a:gdLst>
              <a:gd name="connsiteX0" fmla="*/ 0 w 5184842"/>
              <a:gd name="connsiteY0" fmla="*/ 0 h 2178996"/>
              <a:gd name="connsiteX1" fmla="*/ 5184842 w 5184842"/>
              <a:gd name="connsiteY1" fmla="*/ 0 h 2178996"/>
              <a:gd name="connsiteX2" fmla="*/ 5184842 w 5184842"/>
              <a:gd name="connsiteY2" fmla="*/ 2178996 h 2178996"/>
              <a:gd name="connsiteX3" fmla="*/ 0 w 5184842"/>
              <a:gd name="connsiteY3" fmla="*/ 2178996 h 217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4842" h="2178996">
                <a:moveTo>
                  <a:pt x="0" y="0"/>
                </a:moveTo>
                <a:lnTo>
                  <a:pt x="5184842" y="0"/>
                </a:lnTo>
                <a:lnTo>
                  <a:pt x="5184842" y="2178996"/>
                </a:lnTo>
                <a:lnTo>
                  <a:pt x="0" y="217899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2"/>
          </p:nvPr>
        </p:nvSpPr>
        <p:spPr>
          <a:xfrm>
            <a:off x="9961123" y="1938796"/>
            <a:ext cx="2210846" cy="2178996"/>
          </a:xfrm>
          <a:custGeom>
            <a:avLst/>
            <a:gdLst>
              <a:gd name="connsiteX0" fmla="*/ 0 w 2210846"/>
              <a:gd name="connsiteY0" fmla="*/ 0 h 2178996"/>
              <a:gd name="connsiteX1" fmla="*/ 2210846 w 2210846"/>
              <a:gd name="connsiteY1" fmla="*/ 0 h 2178996"/>
              <a:gd name="connsiteX2" fmla="*/ 2210846 w 2210846"/>
              <a:gd name="connsiteY2" fmla="*/ 2178996 h 2178996"/>
              <a:gd name="connsiteX3" fmla="*/ 0 w 2210846"/>
              <a:gd name="connsiteY3" fmla="*/ 2178996 h 217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0846" h="2178996">
                <a:moveTo>
                  <a:pt x="0" y="0"/>
                </a:moveTo>
                <a:lnTo>
                  <a:pt x="2210846" y="0"/>
                </a:lnTo>
                <a:lnTo>
                  <a:pt x="2210846" y="2178996"/>
                </a:lnTo>
                <a:lnTo>
                  <a:pt x="0" y="217899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/>
          <p:cNvSpPr>
            <a:spLocks noGrp="1"/>
          </p:cNvSpPr>
          <p:nvPr>
            <p:ph type="pic" sz="quarter" idx="10"/>
          </p:nvPr>
        </p:nvSpPr>
        <p:spPr>
          <a:xfrm>
            <a:off x="1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1"/>
          </p:nvPr>
        </p:nvSpPr>
        <p:spPr>
          <a:xfrm>
            <a:off x="2437494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/>
          <p:cNvSpPr>
            <a:spLocks noGrp="1"/>
          </p:cNvSpPr>
          <p:nvPr>
            <p:ph type="pic" sz="quarter" idx="12"/>
          </p:nvPr>
        </p:nvSpPr>
        <p:spPr>
          <a:xfrm>
            <a:off x="4874987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/>
          <p:cNvSpPr>
            <a:spLocks noGrp="1"/>
          </p:cNvSpPr>
          <p:nvPr>
            <p:ph type="pic" sz="quarter" idx="13"/>
          </p:nvPr>
        </p:nvSpPr>
        <p:spPr>
          <a:xfrm>
            <a:off x="7312479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/>
          <p:cNvSpPr>
            <a:spLocks noGrp="1"/>
          </p:cNvSpPr>
          <p:nvPr>
            <p:ph type="pic" sz="quarter" idx="14"/>
          </p:nvPr>
        </p:nvSpPr>
        <p:spPr>
          <a:xfrm>
            <a:off x="9749974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2867222" y="1"/>
            <a:ext cx="9324779" cy="6858001"/>
          </a:xfrm>
          <a:custGeom>
            <a:avLst/>
            <a:gdLst>
              <a:gd name="connsiteX0" fmla="*/ 7980246 w 9324779"/>
              <a:gd name="connsiteY0" fmla="*/ 3223322 h 6858001"/>
              <a:gd name="connsiteX1" fmla="*/ 9324779 w 9324779"/>
              <a:gd name="connsiteY1" fmla="*/ 4567855 h 6858001"/>
              <a:gd name="connsiteX2" fmla="*/ 9324779 w 9324779"/>
              <a:gd name="connsiteY2" fmla="*/ 6641804 h 6858001"/>
              <a:gd name="connsiteX3" fmla="*/ 9108582 w 9324779"/>
              <a:gd name="connsiteY3" fmla="*/ 6858001 h 6858001"/>
              <a:gd name="connsiteX4" fmla="*/ 6851910 w 9324779"/>
              <a:gd name="connsiteY4" fmla="*/ 6858001 h 6858001"/>
              <a:gd name="connsiteX5" fmla="*/ 5598739 w 9324779"/>
              <a:gd name="connsiteY5" fmla="*/ 5604829 h 6858001"/>
              <a:gd name="connsiteX6" fmla="*/ 9324779 w 9324779"/>
              <a:gd name="connsiteY6" fmla="*/ 1859655 h 6858001"/>
              <a:gd name="connsiteX7" fmla="*/ 9324779 w 9324779"/>
              <a:gd name="connsiteY7" fmla="*/ 3920343 h 6858001"/>
              <a:gd name="connsiteX8" fmla="*/ 8294435 w 9324779"/>
              <a:gd name="connsiteY8" fmla="*/ 2889999 h 6858001"/>
              <a:gd name="connsiteX9" fmla="*/ 5304250 w 9324779"/>
              <a:gd name="connsiteY9" fmla="*/ 377366 h 6858001"/>
              <a:gd name="connsiteX10" fmla="*/ 7685757 w 9324779"/>
              <a:gd name="connsiteY10" fmla="*/ 2758874 h 6858001"/>
              <a:gd name="connsiteX11" fmla="*/ 5304250 w 9324779"/>
              <a:gd name="connsiteY11" fmla="*/ 5140381 h 6858001"/>
              <a:gd name="connsiteX12" fmla="*/ 2922742 w 9324779"/>
              <a:gd name="connsiteY12" fmla="*/ 2758874 h 6858001"/>
              <a:gd name="connsiteX13" fmla="*/ 5714857 w 9324779"/>
              <a:gd name="connsiteY13" fmla="*/ 0 h 6858001"/>
              <a:gd name="connsiteX14" fmla="*/ 9324778 w 9324779"/>
              <a:gd name="connsiteY14" fmla="*/ 0 h 6858001"/>
              <a:gd name="connsiteX15" fmla="*/ 9324779 w 9324779"/>
              <a:gd name="connsiteY15" fmla="*/ 1153092 h 6858001"/>
              <a:gd name="connsiteX16" fmla="*/ 8082097 w 9324779"/>
              <a:gd name="connsiteY16" fmla="*/ 2395773 h 6858001"/>
              <a:gd name="connsiteX17" fmla="*/ 5700591 w 9324779"/>
              <a:gd name="connsiteY17" fmla="*/ 14266 h 6858001"/>
              <a:gd name="connsiteX18" fmla="*/ 19308 w 9324779"/>
              <a:gd name="connsiteY18" fmla="*/ 0 h 6858001"/>
              <a:gd name="connsiteX19" fmla="*/ 4743706 w 9324779"/>
              <a:gd name="connsiteY19" fmla="*/ 0 h 6858001"/>
              <a:gd name="connsiteX20" fmla="*/ 4763015 w 9324779"/>
              <a:gd name="connsiteY20" fmla="*/ 19309 h 6858001"/>
              <a:gd name="connsiteX21" fmla="*/ 2381507 w 9324779"/>
              <a:gd name="connsiteY21" fmla="*/ 2400816 h 6858001"/>
              <a:gd name="connsiteX22" fmla="*/ 0 w 9324779"/>
              <a:gd name="connsiteY22" fmla="*/ 1930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9324779" h="6858001">
                <a:moveTo>
                  <a:pt x="7980246" y="3223322"/>
                </a:moveTo>
                <a:lnTo>
                  <a:pt x="9324779" y="4567855"/>
                </a:lnTo>
                <a:lnTo>
                  <a:pt x="9324779" y="6641804"/>
                </a:lnTo>
                <a:lnTo>
                  <a:pt x="9108582" y="6858001"/>
                </a:lnTo>
                <a:lnTo>
                  <a:pt x="6851910" y="6858001"/>
                </a:lnTo>
                <a:lnTo>
                  <a:pt x="5598739" y="5604829"/>
                </a:lnTo>
                <a:close/>
                <a:moveTo>
                  <a:pt x="9324779" y="1859655"/>
                </a:moveTo>
                <a:lnTo>
                  <a:pt x="9324779" y="3920343"/>
                </a:lnTo>
                <a:lnTo>
                  <a:pt x="8294435" y="2889999"/>
                </a:lnTo>
                <a:close/>
                <a:moveTo>
                  <a:pt x="5304250" y="377366"/>
                </a:moveTo>
                <a:lnTo>
                  <a:pt x="7685757" y="2758874"/>
                </a:lnTo>
                <a:lnTo>
                  <a:pt x="5304250" y="5140381"/>
                </a:lnTo>
                <a:lnTo>
                  <a:pt x="2922742" y="2758874"/>
                </a:lnTo>
                <a:close/>
                <a:moveTo>
                  <a:pt x="5714857" y="0"/>
                </a:moveTo>
                <a:lnTo>
                  <a:pt x="9324778" y="0"/>
                </a:lnTo>
                <a:lnTo>
                  <a:pt x="9324779" y="1153092"/>
                </a:lnTo>
                <a:lnTo>
                  <a:pt x="8082097" y="2395773"/>
                </a:lnTo>
                <a:lnTo>
                  <a:pt x="5700591" y="14266"/>
                </a:lnTo>
                <a:close/>
                <a:moveTo>
                  <a:pt x="19308" y="0"/>
                </a:moveTo>
                <a:lnTo>
                  <a:pt x="4743706" y="0"/>
                </a:lnTo>
                <a:lnTo>
                  <a:pt x="4763015" y="19309"/>
                </a:lnTo>
                <a:lnTo>
                  <a:pt x="2381507" y="2400816"/>
                </a:lnTo>
                <a:lnTo>
                  <a:pt x="0" y="1930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梯形 8"/>
          <p:cNvSpPr/>
          <p:nvPr/>
        </p:nvSpPr>
        <p:spPr>
          <a:xfrm rot="5400000">
            <a:off x="118530" y="308812"/>
            <a:ext cx="6043960" cy="6240378"/>
          </a:xfrm>
          <a:prstGeom prst="trapezoid">
            <a:avLst>
              <a:gd name="adj" fmla="val 17635"/>
            </a:avLst>
          </a:prstGeom>
          <a:gradFill>
            <a:gsLst>
              <a:gs pos="0">
                <a:srgbClr val="24563C">
                  <a:alpha val="57000"/>
                </a:srgbClr>
              </a:gs>
              <a:gs pos="100000">
                <a:srgbClr val="24563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/>
          <p:cNvGrpSpPr/>
          <p:nvPr/>
        </p:nvGrpSpPr>
        <p:grpSpPr>
          <a:xfrm>
            <a:off x="6489959" y="0"/>
            <a:ext cx="5702046" cy="6858001"/>
            <a:chOff x="6489959" y="0"/>
            <a:chExt cx="5702046" cy="6858001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8" name="梯形 7"/>
            <p:cNvSpPr/>
            <p:nvPr/>
          </p:nvSpPr>
          <p:spPr>
            <a:xfrm rot="16200000" flipH="1">
              <a:off x="8506328" y="3172325"/>
              <a:ext cx="6858001" cy="513352"/>
            </a:xfrm>
            <a:prstGeom prst="trapezoid">
              <a:avLst>
                <a:gd name="adj" fmla="val 58260"/>
              </a:avLst>
            </a:prstGeom>
            <a:solidFill>
              <a:srgbClr val="3E69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任意多边形: 形状 14"/>
            <p:cNvSpPr/>
            <p:nvPr/>
          </p:nvSpPr>
          <p:spPr>
            <a:xfrm>
              <a:off x="6489959" y="407020"/>
              <a:ext cx="5030529" cy="6043960"/>
            </a:xfrm>
            <a:custGeom>
              <a:avLst/>
              <a:gdLst>
                <a:gd name="connsiteX0" fmla="*/ 0 w 5030529"/>
                <a:gd name="connsiteY0" fmla="*/ 896394 h 6858000"/>
                <a:gd name="connsiteX1" fmla="*/ 963967 w 5030529"/>
                <a:gd name="connsiteY1" fmla="*/ 896394 h 6858000"/>
                <a:gd name="connsiteX2" fmla="*/ 963967 w 5030529"/>
                <a:gd name="connsiteY2" fmla="*/ 5961607 h 6858000"/>
                <a:gd name="connsiteX3" fmla="*/ 0 w 5030529"/>
                <a:gd name="connsiteY3" fmla="*/ 5961607 h 6858000"/>
                <a:gd name="connsiteX4" fmla="*/ 1221723 w 5030529"/>
                <a:gd name="connsiteY4" fmla="*/ 662486 h 6858000"/>
                <a:gd name="connsiteX5" fmla="*/ 2185690 w 5030529"/>
                <a:gd name="connsiteY5" fmla="*/ 662486 h 6858000"/>
                <a:gd name="connsiteX6" fmla="*/ 2185690 w 5030529"/>
                <a:gd name="connsiteY6" fmla="*/ 6195514 h 6858000"/>
                <a:gd name="connsiteX7" fmla="*/ 1221723 w 5030529"/>
                <a:gd name="connsiteY7" fmla="*/ 6195514 h 6858000"/>
                <a:gd name="connsiteX8" fmla="*/ 2443446 w 5030529"/>
                <a:gd name="connsiteY8" fmla="*/ 360363 h 6858000"/>
                <a:gd name="connsiteX9" fmla="*/ 3512685 w 5030529"/>
                <a:gd name="connsiteY9" fmla="*/ 360363 h 6858000"/>
                <a:gd name="connsiteX10" fmla="*/ 3512685 w 5030529"/>
                <a:gd name="connsiteY10" fmla="*/ 6497638 h 6858000"/>
                <a:gd name="connsiteX11" fmla="*/ 2443446 w 5030529"/>
                <a:gd name="connsiteY11" fmla="*/ 6497638 h 6858000"/>
                <a:gd name="connsiteX12" fmla="*/ 3770441 w 5030529"/>
                <a:gd name="connsiteY12" fmla="*/ 0 h 6858000"/>
                <a:gd name="connsiteX13" fmla="*/ 5030529 w 5030529"/>
                <a:gd name="connsiteY13" fmla="*/ 0 h 6858000"/>
                <a:gd name="connsiteX14" fmla="*/ 5030529 w 5030529"/>
                <a:gd name="connsiteY14" fmla="*/ 6858000 h 6858000"/>
                <a:gd name="connsiteX15" fmla="*/ 3770441 w 5030529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30529" h="6858000">
                  <a:moveTo>
                    <a:pt x="0" y="896394"/>
                  </a:moveTo>
                  <a:lnTo>
                    <a:pt x="963967" y="896394"/>
                  </a:lnTo>
                  <a:lnTo>
                    <a:pt x="963967" y="5961607"/>
                  </a:lnTo>
                  <a:lnTo>
                    <a:pt x="0" y="5961607"/>
                  </a:lnTo>
                  <a:close/>
                  <a:moveTo>
                    <a:pt x="1221723" y="662486"/>
                  </a:moveTo>
                  <a:lnTo>
                    <a:pt x="2185690" y="662486"/>
                  </a:lnTo>
                  <a:lnTo>
                    <a:pt x="2185690" y="6195514"/>
                  </a:lnTo>
                  <a:lnTo>
                    <a:pt x="1221723" y="6195514"/>
                  </a:lnTo>
                  <a:close/>
                  <a:moveTo>
                    <a:pt x="2443446" y="360363"/>
                  </a:moveTo>
                  <a:lnTo>
                    <a:pt x="3512685" y="360363"/>
                  </a:lnTo>
                  <a:lnTo>
                    <a:pt x="3512685" y="6497638"/>
                  </a:lnTo>
                  <a:lnTo>
                    <a:pt x="2443446" y="6497638"/>
                  </a:lnTo>
                  <a:close/>
                  <a:moveTo>
                    <a:pt x="3770441" y="0"/>
                  </a:moveTo>
                  <a:lnTo>
                    <a:pt x="5030529" y="0"/>
                  </a:lnTo>
                  <a:lnTo>
                    <a:pt x="5030529" y="6858000"/>
                  </a:lnTo>
                  <a:lnTo>
                    <a:pt x="3770441" y="6858000"/>
                  </a:lnTo>
                  <a:close/>
                </a:path>
              </a:pathLst>
            </a:custGeom>
            <a:grpFill/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图片 1069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829648" y="4805239"/>
            <a:ext cx="4142403" cy="38381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吴国伟班级</a:t>
            </a:r>
            <a:endParaRPr lang="en-US" altLang="zh-CN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4294967295"/>
          </p:nvPr>
        </p:nvSpPr>
        <p:spPr>
          <a:xfrm>
            <a:off x="829648" y="5241464"/>
            <a:ext cx="2540666" cy="35258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zh-CN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  <a:sym typeface="+mn-ea"/>
              </a:rPr>
              <a:t>Date: 2021.06.15</a:t>
            </a:r>
            <a:endParaRPr lang="en-US" altLang="zh-CN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1" name="文本框 27"/>
          <p:cNvSpPr txBox="1"/>
          <p:nvPr/>
        </p:nvSpPr>
        <p:spPr>
          <a:xfrm>
            <a:off x="829648" y="2542707"/>
            <a:ext cx="4906603" cy="9220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5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ea"/>
                <a:ea typeface="+mj-ea"/>
                <a:sym typeface="Century Gothic" panose="020B0502020202020204" pitchFamily="34" charset="0"/>
              </a:rPr>
              <a:t>   </a:t>
            </a:r>
            <a:r>
              <a:rPr kumimoji="0" lang="zh-CN" sz="5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操作系统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84" y="1202857"/>
            <a:ext cx="3629025" cy="10858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0" animBg="1"/>
      <p:bldP spid="6" grpId="0" build="p"/>
      <p:bldP spid="7" grpId="0" build="p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413450" y="2349092"/>
            <a:ext cx="1792478" cy="92333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5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5400000" scaled="1"/>
                </a:gra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目 录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940566" y="3332163"/>
            <a:ext cx="2738250" cy="707886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5400000" scaled="1"/>
                </a:gra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CONTENT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24563C">
                      <a:alpha val="57000"/>
                    </a:srgbClr>
                  </a:gs>
                  <a:gs pos="100000">
                    <a:srgbClr val="24563C"/>
                  </a:gs>
                </a:gsLst>
                <a:lin ang="5400000" scaled="1"/>
              </a:gradFill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sym typeface="Century Gothic" panose="020B0502020202020204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871085" y="1681480"/>
            <a:ext cx="2611612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01.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操作系统简介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4871085" y="3580130"/>
            <a:ext cx="2611612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04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操作系统结构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sym typeface="Century Gothic" panose="020B0502020202020204" pitchFamily="3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4871085" y="2348865"/>
            <a:ext cx="2919389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02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.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计算机系统组织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sym typeface="Century Gothic" panose="020B0502020202020204" pitchFamily="34" charset="0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4871085" y="4222750"/>
            <a:ext cx="2611612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05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 </a:t>
            </a: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操作系统操作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sym typeface="Century Gothic" panose="020B0502020202020204" pitchFamily="34" charset="0"/>
            </a:endParaRPr>
          </a:p>
        </p:txBody>
      </p:sp>
      <p:sp>
        <p:nvSpPr>
          <p:cNvPr id="22" name="梯形 21"/>
          <p:cNvSpPr/>
          <p:nvPr/>
        </p:nvSpPr>
        <p:spPr>
          <a:xfrm rot="5400000">
            <a:off x="-3172324" y="3172325"/>
            <a:ext cx="6858001" cy="513352"/>
          </a:xfrm>
          <a:prstGeom prst="trapezoid">
            <a:avLst>
              <a:gd name="adj" fmla="val 58260"/>
            </a:avLst>
          </a:prstGeom>
          <a:gradFill flip="none" rotWithShape="1">
            <a:gsLst>
              <a:gs pos="0">
                <a:srgbClr val="24563C">
                  <a:alpha val="57000"/>
                </a:srgbClr>
              </a:gs>
              <a:gs pos="100000">
                <a:srgbClr val="24563C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gradFill flip="none" rotWithShape="1">
                <a:gsLst>
                  <a:gs pos="0">
                    <a:srgbClr val="24563C">
                      <a:alpha val="57000"/>
                    </a:srgbClr>
                  </a:gs>
                  <a:gs pos="100000">
                    <a:srgbClr val="24563C"/>
                  </a:gs>
                </a:gsLst>
                <a:lin ang="13500000" scaled="1"/>
                <a:tileRect/>
              </a:gradFill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10838596" y="6082276"/>
            <a:ext cx="612680" cy="157316"/>
            <a:chOff x="442452" y="147484"/>
            <a:chExt cx="612680" cy="157316"/>
          </a:xfrm>
        </p:grpSpPr>
        <p:sp>
          <p:nvSpPr>
            <p:cNvPr id="24" name="椭圆 23"/>
            <p:cNvSpPr/>
            <p:nvPr/>
          </p:nvSpPr>
          <p:spPr>
            <a:xfrm>
              <a:off x="442452" y="147484"/>
              <a:ext cx="157316" cy="157316"/>
            </a:xfrm>
            <a:prstGeom prst="ellipse">
              <a:avLst/>
            </a:prstGeom>
            <a:solidFill>
              <a:srgbClr val="2456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椭圆 24"/>
            <p:cNvSpPr/>
            <p:nvPr/>
          </p:nvSpPr>
          <p:spPr>
            <a:xfrm>
              <a:off x="670134" y="147484"/>
              <a:ext cx="157316" cy="157316"/>
            </a:xfrm>
            <a:prstGeom prst="ellipse">
              <a:avLst/>
            </a:prstGeom>
            <a:solidFill>
              <a:srgbClr val="2456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>
            <a:xfrm>
              <a:off x="897816" y="147484"/>
              <a:ext cx="157316" cy="157316"/>
            </a:xfrm>
            <a:prstGeom prst="ellipse">
              <a:avLst/>
            </a:prstGeom>
            <a:solidFill>
              <a:srgbClr val="2456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4871085" y="2971800"/>
            <a:ext cx="322716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03.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操作系统体系结构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sym typeface="Century Gothic" panose="020B0502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2"/>
          <p:cNvSpPr txBox="1"/>
          <p:nvPr/>
        </p:nvSpPr>
        <p:spPr>
          <a:xfrm>
            <a:off x="8022671" y="2347097"/>
            <a:ext cx="3304142" cy="1301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ection About Company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69298" y="58865"/>
            <a:ext cx="2944604" cy="617898"/>
            <a:chOff x="169298" y="58865"/>
            <a:chExt cx="2944604" cy="617898"/>
          </a:xfrm>
        </p:grpSpPr>
        <p:grpSp>
          <p:nvGrpSpPr>
            <p:cNvPr id="14" name="组合 13"/>
            <p:cNvGrpSpPr/>
            <p:nvPr/>
          </p:nvGrpSpPr>
          <p:grpSpPr>
            <a:xfrm>
              <a:off x="620395" y="58865"/>
              <a:ext cx="2493507" cy="617898"/>
              <a:chOff x="4342368" y="419177"/>
              <a:chExt cx="2493507" cy="617898"/>
            </a:xfrm>
          </p:grpSpPr>
          <p:sp>
            <p:nvSpPr>
              <p:cNvPr id="15" name="文本框 14"/>
              <p:cNvSpPr txBox="1"/>
              <p:nvPr/>
            </p:nvSpPr>
            <p:spPr>
              <a:xfrm>
                <a:off x="4362191" y="419177"/>
                <a:ext cx="309880" cy="3987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微软雅黑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6" name="文本框 15"/>
              <p:cNvSpPr txBox="1"/>
              <p:nvPr/>
            </p:nvSpPr>
            <p:spPr>
              <a:xfrm>
                <a:off x="4342368" y="525396"/>
                <a:ext cx="2493507" cy="5116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华文中宋" panose="02010600040101010101" pitchFamily="2" charset="-122"/>
                    <a:ea typeface="华文中宋" panose="02010600040101010101" pitchFamily="2" charset="-122"/>
                    <a:sym typeface="Century Gothic" panose="020B0502020202020204" pitchFamily="34" charset="0"/>
                  </a:rPr>
                  <a:t>思维导图</a:t>
                </a:r>
                <a:endParaRPr kumimoji="0" lang="zh-CN" altLang="en-US" sz="2400" b="1" i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华文中宋" panose="02010600040101010101" pitchFamily="2" charset="-122"/>
                  <a:ea typeface="华文中宋" panose="02010600040101010101" pitchFamily="2" charset="-122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17" name="圆角矩形 9"/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微软雅黑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0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28" name="图片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D12172B9-0EBF-4C0F-A1CF-E02523F162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30" y="723151"/>
            <a:ext cx="9907890" cy="585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78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/>
          <p:cNvGrpSpPr/>
          <p:nvPr/>
        </p:nvGrpSpPr>
        <p:grpSpPr>
          <a:xfrm>
            <a:off x="169298" y="190736"/>
            <a:ext cx="2482600" cy="460375"/>
            <a:chOff x="169298" y="190736"/>
            <a:chExt cx="2482600" cy="460375"/>
          </a:xfrm>
        </p:grpSpPr>
        <p:sp>
          <p:nvSpPr>
            <p:cNvPr id="21" name="文本框 20"/>
            <p:cNvSpPr txBox="1"/>
            <p:nvPr/>
          </p:nvSpPr>
          <p:spPr>
            <a:xfrm>
              <a:off x="640218" y="190736"/>
              <a:ext cx="2011680" cy="46037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华文中宋" panose="02010600040101010101" pitchFamily="2" charset="-122"/>
                  <a:ea typeface="华文中宋" panose="02010600040101010101" pitchFamily="2" charset="-122"/>
                  <a:sym typeface="Century Gothic" panose="020B0502020202020204" pitchFamily="34" charset="0"/>
                </a:rPr>
                <a:t>操作系统简介</a:t>
              </a:r>
            </a:p>
          </p:txBody>
        </p:sp>
        <p:sp>
          <p:nvSpPr>
            <p:cNvPr id="19" name="圆角矩形 9"/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微软雅黑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1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4937125" y="2800985"/>
            <a:ext cx="2155190" cy="9391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" name="文本框 3"/>
          <p:cNvSpPr txBox="1"/>
          <p:nvPr/>
        </p:nvSpPr>
        <p:spPr>
          <a:xfrm>
            <a:off x="5287645" y="3040380"/>
            <a:ext cx="16173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latin typeface="华文中宋" panose="02010600040101010101" pitchFamily="2" charset="-122"/>
                <a:ea typeface="华文中宋" panose="02010600040101010101" pitchFamily="2" charset="-122"/>
              </a:rPr>
              <a:t>操作系统</a:t>
            </a:r>
          </a:p>
        </p:txBody>
      </p:sp>
      <p:cxnSp>
        <p:nvCxnSpPr>
          <p:cNvPr id="23" name="直接箭头连接符 22"/>
          <p:cNvCxnSpPr>
            <a:stCxn id="3" idx="0"/>
            <a:endCxn id="25" idx="2"/>
          </p:cNvCxnSpPr>
          <p:nvPr/>
        </p:nvCxnSpPr>
        <p:spPr>
          <a:xfrm flipV="1">
            <a:off x="6014720" y="2219960"/>
            <a:ext cx="3810" cy="5810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5209540" y="1734820"/>
            <a:ext cx="1617345" cy="4851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5600065" y="1778000"/>
            <a:ext cx="9702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程序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5969000" y="2326640"/>
            <a:ext cx="9055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是什么</a:t>
            </a:r>
          </a:p>
        </p:txBody>
      </p:sp>
      <p:cxnSp>
        <p:nvCxnSpPr>
          <p:cNvPr id="28" name="直接连接符 27"/>
          <p:cNvCxnSpPr>
            <a:stCxn id="25" idx="0"/>
          </p:cNvCxnSpPr>
          <p:nvPr/>
        </p:nvCxnSpPr>
        <p:spPr>
          <a:xfrm flipH="1" flipV="1">
            <a:off x="6008370" y="1378585"/>
            <a:ext cx="10160" cy="3562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/>
          <p:cNvSpPr/>
          <p:nvPr/>
        </p:nvSpPr>
        <p:spPr>
          <a:xfrm>
            <a:off x="4213860" y="689610"/>
            <a:ext cx="3773170" cy="701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4345305" y="855980"/>
            <a:ext cx="364172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用户与计算机硬件进行沟通的媒介</a:t>
            </a:r>
          </a:p>
        </p:txBody>
      </p:sp>
      <p:cxnSp>
        <p:nvCxnSpPr>
          <p:cNvPr id="31" name="直接箭头连接符 30"/>
          <p:cNvCxnSpPr>
            <a:stCxn id="3" idx="3"/>
          </p:cNvCxnSpPr>
          <p:nvPr/>
        </p:nvCxnSpPr>
        <p:spPr>
          <a:xfrm flipV="1">
            <a:off x="7092315" y="3265170"/>
            <a:ext cx="894715" cy="57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框 31"/>
          <p:cNvSpPr txBox="1"/>
          <p:nvPr/>
        </p:nvSpPr>
        <p:spPr>
          <a:xfrm>
            <a:off x="7160578" y="2950845"/>
            <a:ext cx="7493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地位</a:t>
            </a:r>
          </a:p>
        </p:txBody>
      </p:sp>
      <p:sp>
        <p:nvSpPr>
          <p:cNvPr id="33" name="矩形 32"/>
          <p:cNvSpPr/>
          <p:nvPr/>
        </p:nvSpPr>
        <p:spPr>
          <a:xfrm>
            <a:off x="7946390" y="3041650"/>
            <a:ext cx="3630839" cy="4527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8019415" y="3074075"/>
            <a:ext cx="3679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核心，在计算机系统中承上启下</a:t>
            </a:r>
          </a:p>
        </p:txBody>
      </p:sp>
      <p:cxnSp>
        <p:nvCxnSpPr>
          <p:cNvPr id="36" name="直接箭头连接符 35"/>
          <p:cNvCxnSpPr>
            <a:stCxn id="3" idx="2"/>
            <a:endCxn id="43" idx="0"/>
          </p:cNvCxnSpPr>
          <p:nvPr/>
        </p:nvCxnSpPr>
        <p:spPr>
          <a:xfrm flipH="1">
            <a:off x="6007735" y="3740150"/>
            <a:ext cx="6985" cy="5441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5995035" y="3787060"/>
            <a:ext cx="90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做什么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7092315" y="3847465"/>
            <a:ext cx="122872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华文中宋" panose="02010600040101010101" pitchFamily="2" charset="-122"/>
                <a:ea typeface="华文中宋" panose="02010600040101010101" pitchFamily="2" charset="-122"/>
              </a:rPr>
              <a:t>资源管理</a:t>
            </a:r>
          </a:p>
        </p:txBody>
      </p:sp>
      <p:sp>
        <p:nvSpPr>
          <p:cNvPr id="43" name="矩形 42"/>
          <p:cNvSpPr/>
          <p:nvPr/>
        </p:nvSpPr>
        <p:spPr>
          <a:xfrm>
            <a:off x="5344795" y="4284345"/>
            <a:ext cx="1325880" cy="4851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核心角色</a:t>
            </a:r>
          </a:p>
        </p:txBody>
      </p:sp>
      <p:cxnSp>
        <p:nvCxnSpPr>
          <p:cNvPr id="44" name="直接连接符 43"/>
          <p:cNvCxnSpPr/>
          <p:nvPr/>
        </p:nvCxnSpPr>
        <p:spPr>
          <a:xfrm flipH="1">
            <a:off x="6003925" y="4729480"/>
            <a:ext cx="5715" cy="8623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矩形 44"/>
          <p:cNvSpPr/>
          <p:nvPr/>
        </p:nvSpPr>
        <p:spPr>
          <a:xfrm>
            <a:off x="5139055" y="5511800"/>
            <a:ext cx="1735455" cy="6254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核心模块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4310380" y="2950845"/>
            <a:ext cx="8083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定义</a:t>
            </a:r>
          </a:p>
        </p:txBody>
      </p:sp>
      <p:sp>
        <p:nvSpPr>
          <p:cNvPr id="48" name="右大括号 47"/>
          <p:cNvSpPr/>
          <p:nvPr/>
        </p:nvSpPr>
        <p:spPr>
          <a:xfrm>
            <a:off x="3718560" y="2297430"/>
            <a:ext cx="1132205" cy="20694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/>
          <p:cNvSpPr txBox="1"/>
          <p:nvPr/>
        </p:nvSpPr>
        <p:spPr>
          <a:xfrm>
            <a:off x="840105" y="2111375"/>
            <a:ext cx="287845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广义：操作系统供应商提供的操作系统发行版中包含的所有程序和数据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980440" y="3847465"/>
            <a:ext cx="258699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狭义：从计算机加电运行后一直在内存里运行的程序</a:t>
            </a:r>
          </a:p>
        </p:txBody>
      </p:sp>
      <p:sp>
        <p:nvSpPr>
          <p:cNvPr id="51" name="左大括号 50"/>
          <p:cNvSpPr/>
          <p:nvPr/>
        </p:nvSpPr>
        <p:spPr>
          <a:xfrm>
            <a:off x="6598285" y="3998595"/>
            <a:ext cx="494030" cy="130365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/>
          <p:cNvSpPr txBox="1"/>
          <p:nvPr/>
        </p:nvSpPr>
        <p:spPr>
          <a:xfrm>
            <a:off x="7092315" y="5113020"/>
            <a:ext cx="209042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华文中宋" panose="02010600040101010101" pitchFamily="2" charset="-122"/>
                <a:ea typeface="华文中宋" panose="02010600040101010101" pitchFamily="2" charset="-122"/>
              </a:rPr>
              <a:t>控制程序执行</a:t>
            </a:r>
          </a:p>
        </p:txBody>
      </p:sp>
      <p:sp>
        <p:nvSpPr>
          <p:cNvPr id="54" name="左大括号 53"/>
          <p:cNvSpPr/>
          <p:nvPr/>
        </p:nvSpPr>
        <p:spPr>
          <a:xfrm>
            <a:off x="8321040" y="3644900"/>
            <a:ext cx="161925" cy="99568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8482965" y="3567430"/>
            <a:ext cx="2468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管理计算机软硬件资源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8482965" y="3935730"/>
            <a:ext cx="213423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保证高效使用资源</a:t>
            </a:r>
          </a:p>
        </p:txBody>
      </p:sp>
      <p:sp>
        <p:nvSpPr>
          <p:cNvPr id="57" name="文本框 56"/>
          <p:cNvSpPr txBox="1"/>
          <p:nvPr/>
        </p:nvSpPr>
        <p:spPr>
          <a:xfrm>
            <a:off x="8482965" y="4304030"/>
            <a:ext cx="20694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避免硬件冲突</a:t>
            </a:r>
          </a:p>
        </p:txBody>
      </p:sp>
      <p:sp>
        <p:nvSpPr>
          <p:cNvPr id="58" name="左大括号 57"/>
          <p:cNvSpPr/>
          <p:nvPr/>
        </p:nvSpPr>
        <p:spPr>
          <a:xfrm>
            <a:off x="8774430" y="4805680"/>
            <a:ext cx="204470" cy="101282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文本框 58"/>
          <p:cNvSpPr txBox="1"/>
          <p:nvPr/>
        </p:nvSpPr>
        <p:spPr>
          <a:xfrm>
            <a:off x="8978900" y="4711065"/>
            <a:ext cx="181038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控制程序执行</a:t>
            </a:r>
          </a:p>
        </p:txBody>
      </p:sp>
      <p:sp>
        <p:nvSpPr>
          <p:cNvPr id="60" name="文本框 59"/>
          <p:cNvSpPr txBox="1"/>
          <p:nvPr/>
        </p:nvSpPr>
        <p:spPr>
          <a:xfrm>
            <a:off x="8978900" y="5143500"/>
            <a:ext cx="12934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出错处理</a:t>
            </a:r>
          </a:p>
        </p:txBody>
      </p:sp>
      <p:sp>
        <p:nvSpPr>
          <p:cNvPr id="61" name="文本框 60"/>
          <p:cNvSpPr txBox="1"/>
          <p:nvPr/>
        </p:nvSpPr>
        <p:spPr>
          <a:xfrm>
            <a:off x="8978900" y="5591810"/>
            <a:ext cx="33947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保证合理规范使用系统资源</a:t>
            </a:r>
          </a:p>
        </p:txBody>
      </p:sp>
      <p:sp>
        <p:nvSpPr>
          <p:cNvPr id="62" name="右大括号 61"/>
          <p:cNvSpPr/>
          <p:nvPr/>
        </p:nvSpPr>
        <p:spPr>
          <a:xfrm>
            <a:off x="4641215" y="4874260"/>
            <a:ext cx="497840" cy="16535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文本框 62"/>
          <p:cNvSpPr txBox="1"/>
          <p:nvPr/>
        </p:nvSpPr>
        <p:spPr>
          <a:xfrm>
            <a:off x="3545840" y="4740910"/>
            <a:ext cx="13582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CPU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管理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3567430" y="5120640"/>
            <a:ext cx="13582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内存管理</a:t>
            </a:r>
          </a:p>
        </p:txBody>
      </p:sp>
      <p:sp>
        <p:nvSpPr>
          <p:cNvPr id="65" name="文本框 64"/>
          <p:cNvSpPr txBox="1"/>
          <p:nvPr/>
        </p:nvSpPr>
        <p:spPr>
          <a:xfrm>
            <a:off x="3567430" y="5511800"/>
            <a:ext cx="13582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文件管理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3545840" y="5880100"/>
            <a:ext cx="13582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设备管理</a:t>
            </a:r>
          </a:p>
        </p:txBody>
      </p:sp>
      <p:sp>
        <p:nvSpPr>
          <p:cNvPr id="67" name="文本框 66"/>
          <p:cNvSpPr txBox="1"/>
          <p:nvPr/>
        </p:nvSpPr>
        <p:spPr>
          <a:xfrm>
            <a:off x="3999230" y="6248400"/>
            <a:ext cx="7067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通信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5" grpId="0" animBg="1"/>
      <p:bldP spid="26" grpId="0"/>
      <p:bldP spid="27" grpId="0"/>
      <p:bldP spid="29" grpId="0" animBg="1"/>
      <p:bldP spid="30" grpId="0"/>
      <p:bldP spid="32" grpId="0"/>
      <p:bldP spid="33" grpId="0" animBg="1"/>
      <p:bldP spid="37" grpId="0"/>
      <p:bldP spid="39" grpId="0"/>
      <p:bldP spid="43" grpId="0" animBg="1"/>
      <p:bldP spid="45" grpId="0" animBg="1"/>
      <p:bldP spid="47" grpId="0"/>
      <p:bldP spid="48" grpId="0" animBg="1"/>
      <p:bldP spid="49" grpId="0"/>
      <p:bldP spid="50" grpId="0"/>
      <p:bldP spid="51" grpId="0" animBg="1"/>
      <p:bldP spid="53" grpId="0"/>
      <p:bldP spid="54" grpId="0" animBg="1"/>
      <p:bldP spid="55" grpId="0"/>
      <p:bldP spid="56" grpId="0"/>
      <p:bldP spid="57" grpId="0"/>
      <p:bldP spid="58" grpId="0" animBg="1"/>
      <p:bldP spid="59" grpId="0"/>
      <p:bldP spid="60" grpId="0"/>
      <p:bldP spid="61" grpId="0"/>
      <p:bldP spid="62" grpId="0" animBg="1"/>
      <p:bldP spid="63" grpId="0"/>
      <p:bldP spid="64" grpId="0"/>
      <p:bldP spid="65" grpId="0"/>
      <p:bldP spid="66" grpId="0"/>
      <p:bldP spid="6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2587"/>
          <p:cNvSpPr/>
          <p:nvPr/>
        </p:nvSpPr>
        <p:spPr>
          <a:xfrm>
            <a:off x="9477242" y="1801745"/>
            <a:ext cx="487918" cy="4879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3000" dirty="0"/>
          </a:p>
        </p:txBody>
      </p:sp>
      <p:sp>
        <p:nvSpPr>
          <p:cNvPr id="19" name="TextBox 2"/>
          <p:cNvSpPr txBox="1"/>
          <p:nvPr/>
        </p:nvSpPr>
        <p:spPr>
          <a:xfrm>
            <a:off x="8022671" y="2347097"/>
            <a:ext cx="3304142" cy="1301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ection About Company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69298" y="58865"/>
            <a:ext cx="2944604" cy="617898"/>
            <a:chOff x="169298" y="58865"/>
            <a:chExt cx="2944604" cy="617898"/>
          </a:xfrm>
        </p:grpSpPr>
        <p:grpSp>
          <p:nvGrpSpPr>
            <p:cNvPr id="14" name="组合 13"/>
            <p:cNvGrpSpPr/>
            <p:nvPr/>
          </p:nvGrpSpPr>
          <p:grpSpPr>
            <a:xfrm>
              <a:off x="620395" y="58865"/>
              <a:ext cx="2493507" cy="617898"/>
              <a:chOff x="4342368" y="419177"/>
              <a:chExt cx="2493507" cy="617898"/>
            </a:xfrm>
          </p:grpSpPr>
          <p:sp>
            <p:nvSpPr>
              <p:cNvPr id="15" name="文本框 14"/>
              <p:cNvSpPr txBox="1"/>
              <p:nvPr/>
            </p:nvSpPr>
            <p:spPr>
              <a:xfrm>
                <a:off x="4362191" y="419177"/>
                <a:ext cx="309880" cy="3987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微软雅黑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6" name="文本框 15"/>
              <p:cNvSpPr txBox="1"/>
              <p:nvPr/>
            </p:nvSpPr>
            <p:spPr>
              <a:xfrm>
                <a:off x="4342368" y="525396"/>
                <a:ext cx="2493507" cy="5116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400" b="1" i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华文中宋" panose="02010600040101010101" pitchFamily="2" charset="-122"/>
                    <a:ea typeface="华文中宋" panose="02010600040101010101" pitchFamily="2" charset="-122"/>
                    <a:sym typeface="Century Gothic" panose="020B0502020202020204" pitchFamily="34" charset="0"/>
                  </a:rPr>
                  <a:t>计算机系统组织</a:t>
                </a:r>
              </a:p>
            </p:txBody>
          </p:sp>
        </p:grpSp>
        <p:sp>
          <p:nvSpPr>
            <p:cNvPr id="17" name="圆角矩形 9"/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微软雅黑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2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28" name="图片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49582" y="805465"/>
            <a:ext cx="7052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计算机系统组成要素：总线、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CPU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、主存、设备、设备控制器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560306" y="1833964"/>
            <a:ext cx="679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中断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25564" y="1164706"/>
            <a:ext cx="6155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硬件：硬件随时通过系统总线向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CPU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发出信号以触发中断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1843761" y="2440951"/>
            <a:ext cx="1938771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软件：系统调用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565526" y="3194476"/>
            <a:ext cx="1218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存储结构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571078" y="6291498"/>
            <a:ext cx="1039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I/O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结构</a:t>
            </a:r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50EA95BC-FC88-4CCC-8DC2-022C0EDE8771}"/>
              </a:ext>
            </a:extLst>
          </p:cNvPr>
          <p:cNvSpPr/>
          <p:nvPr/>
        </p:nvSpPr>
        <p:spPr>
          <a:xfrm>
            <a:off x="364363" y="887386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B35AB5B1-6D19-482E-B9AF-1276EA05DA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0594" y="1680812"/>
            <a:ext cx="5519599" cy="335167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96DD8CA-235F-4E1E-9F42-BC2C8C8601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5708" y="1531271"/>
            <a:ext cx="6285505" cy="3650758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A8B9DBA6-BE19-4952-AA39-7967E53EC7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5708" y="3258680"/>
            <a:ext cx="3748795" cy="2897456"/>
          </a:xfrm>
          <a:prstGeom prst="rect">
            <a:avLst/>
          </a:prstGeom>
        </p:spPr>
      </p:pic>
      <p:sp>
        <p:nvSpPr>
          <p:cNvPr id="24" name="左大括号 23">
            <a:extLst>
              <a:ext uri="{FF2B5EF4-FFF2-40B4-BE49-F238E27FC236}">
                <a16:creationId xmlns:a16="http://schemas.microsoft.com/office/drawing/2014/main" id="{58B544D8-4321-4C64-81E1-CD6B49E29ABE}"/>
              </a:ext>
            </a:extLst>
          </p:cNvPr>
          <p:cNvSpPr/>
          <p:nvPr/>
        </p:nvSpPr>
        <p:spPr>
          <a:xfrm>
            <a:off x="1290299" y="1366803"/>
            <a:ext cx="494030" cy="130365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B43E141F-A7F3-43D5-8D34-A26CE241F2E5}"/>
              </a:ext>
            </a:extLst>
          </p:cNvPr>
          <p:cNvSpPr/>
          <p:nvPr/>
        </p:nvSpPr>
        <p:spPr>
          <a:xfrm>
            <a:off x="364363" y="1955164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39B4D9A1-7990-4D38-AD95-8573C62C3392}"/>
              </a:ext>
            </a:extLst>
          </p:cNvPr>
          <p:cNvSpPr/>
          <p:nvPr/>
        </p:nvSpPr>
        <p:spPr>
          <a:xfrm>
            <a:off x="364365" y="3258680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C360BEEC-3DCA-4750-B734-EED3FFB6A29F}"/>
              </a:ext>
            </a:extLst>
          </p:cNvPr>
          <p:cNvSpPr/>
          <p:nvPr/>
        </p:nvSpPr>
        <p:spPr>
          <a:xfrm>
            <a:off x="364364" y="6378193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30" grpId="0"/>
      <p:bldP spid="31" grpId="0"/>
      <p:bldP spid="33" grpId="0"/>
      <p:bldP spid="4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2587"/>
          <p:cNvSpPr/>
          <p:nvPr/>
        </p:nvSpPr>
        <p:spPr>
          <a:xfrm>
            <a:off x="9477242" y="1801745"/>
            <a:ext cx="487918" cy="4879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6565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3000" dirty="0"/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grpSp>
        <p:nvGrpSpPr>
          <p:cNvPr id="50" name="组合 49"/>
          <p:cNvGrpSpPr/>
          <p:nvPr/>
        </p:nvGrpSpPr>
        <p:grpSpPr>
          <a:xfrm>
            <a:off x="169298" y="190200"/>
            <a:ext cx="3397000" cy="786915"/>
            <a:chOff x="169298" y="190200"/>
            <a:chExt cx="3397000" cy="786915"/>
          </a:xfrm>
        </p:grpSpPr>
        <p:grpSp>
          <p:nvGrpSpPr>
            <p:cNvPr id="51" name="组合 50"/>
            <p:cNvGrpSpPr/>
            <p:nvPr/>
          </p:nvGrpSpPr>
          <p:grpSpPr>
            <a:xfrm>
              <a:off x="640218" y="190200"/>
              <a:ext cx="2926080" cy="786915"/>
              <a:chOff x="4362191" y="550512"/>
              <a:chExt cx="2926080" cy="786915"/>
            </a:xfrm>
          </p:grpSpPr>
          <p:sp>
            <p:nvSpPr>
              <p:cNvPr id="52" name="文本框 51"/>
              <p:cNvSpPr txBox="1"/>
              <p:nvPr/>
            </p:nvSpPr>
            <p:spPr>
              <a:xfrm>
                <a:off x="4362191" y="550512"/>
                <a:ext cx="2926080" cy="4603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华文中宋" panose="02010600040101010101" pitchFamily="2" charset="-122"/>
                    <a:ea typeface="华文中宋" panose="02010600040101010101" pitchFamily="2" charset="-122"/>
                    <a:sym typeface="+mn-ea"/>
                  </a:rPr>
                  <a:t>计算机系统体系结构</a:t>
                </a:r>
                <a:endPara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华文中宋" panose="02010600040101010101" pitchFamily="2" charset="-122"/>
                  <a:ea typeface="华文中宋" panose="02010600040101010101" pitchFamily="2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53" name="文本框 52"/>
              <p:cNvSpPr txBox="1"/>
              <p:nvPr/>
            </p:nvSpPr>
            <p:spPr>
              <a:xfrm>
                <a:off x="4362191" y="707507"/>
                <a:ext cx="2493507" cy="6299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微软雅黑" panose="020B0503020204020204" pitchFamily="34" charset="-122"/>
                  <a:sym typeface="Century Gothic" panose="020B0502020202020204" pitchFamily="34" charset="0"/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微软雅黑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54" name="圆角矩形 9"/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微软雅黑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82370" y="267036"/>
              <a:ext cx="457848" cy="3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3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63" name="文本框 62"/>
          <p:cNvSpPr txBox="1"/>
          <p:nvPr/>
        </p:nvSpPr>
        <p:spPr>
          <a:xfrm>
            <a:off x="640217" y="702361"/>
            <a:ext cx="634650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经典综艺体简" panose="02010609000101010101" pitchFamily="49" charset="-122"/>
                <a:sym typeface="Century Gothic" panose="020B0502020202020204" pitchFamily="34" charset="0"/>
              </a:rPr>
              <a:t>单处理器系统：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  <a:cs typeface="经典综艺体简" panose="02010609000101010101" pitchFamily="49" charset="-122"/>
                <a:sym typeface="Century Gothic" panose="020B0502020202020204" pitchFamily="34" charset="0"/>
              </a:rPr>
              <a:t>利用唯一存储单元与其它外部设备结合</a:t>
            </a:r>
            <a:endParaRPr kumimoji="0" lang="zh-CN" alt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cs typeface="经典综艺体简" panose="02010609000101010101" pitchFamily="49" charset="-122"/>
              <a:sym typeface="Century Gothic" panose="020B0502020202020204" pitchFamily="34" charset="0"/>
            </a:endParaRPr>
          </a:p>
          <a:p>
            <a:pPr indent="0">
              <a:lnSpc>
                <a:spcPct val="100000"/>
              </a:lnSpc>
              <a:buFont typeface="+mj-lt"/>
              <a:buNone/>
            </a:pPr>
            <a:endParaRPr lang="en-US" altLang="zh-CN" sz="2400" dirty="0"/>
          </a:p>
        </p:txBody>
      </p:sp>
      <p:sp>
        <p:nvSpPr>
          <p:cNvPr id="67" name="文本框 66"/>
          <p:cNvSpPr txBox="1"/>
          <p:nvPr/>
        </p:nvSpPr>
        <p:spPr>
          <a:xfrm>
            <a:off x="640217" y="1862556"/>
            <a:ext cx="5733962" cy="19380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等线" panose="02010600030101010101" charset="-122"/>
                <a:sym typeface="Century Gothic" panose="020B0502020202020204" pitchFamily="34" charset="0"/>
              </a:rPr>
              <a:t>多处理器系统：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  <a:cs typeface="等线" panose="02010600030101010101" charset="-122"/>
                <a:sym typeface="Century Gothic" panose="020B0502020202020204" pitchFamily="34" charset="0"/>
              </a:rPr>
              <a:t>包含两台或多台功能相近的处理器，处理器之间可以交换数据，所有处理器共享内存，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  <a:cs typeface="等线" panose="02010600030101010101" charset="-122"/>
                <a:sym typeface="Century Gothic" panose="020B0502020202020204" pitchFamily="34" charset="0"/>
              </a:rPr>
              <a:t>I/O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  <a:cs typeface="等线" panose="02010600030101010101" charset="-122"/>
                <a:sym typeface="Century Gothic" panose="020B0502020202020204" pitchFamily="34" charset="0"/>
              </a:rPr>
              <a:t>设备，控制器，外部设备，由统一的操作系统控制</a:t>
            </a:r>
            <a:endParaRPr kumimoji="0" lang="en-US" altLang="zh-CN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cs typeface="等线" panose="02010600030101010101" charset="-122"/>
              <a:sym typeface="Century Gothic" panose="020B0502020202020204" pitchFamily="34" charset="0"/>
            </a:endParaRPr>
          </a:p>
          <a:p>
            <a:pPr>
              <a:lnSpc>
                <a:spcPct val="100000"/>
              </a:lnSpc>
            </a:pPr>
            <a:endParaRPr lang="en-US" altLang="zh-CN" sz="1400" dirty="0">
              <a:latin typeface="等线" panose="02010600030101010101" charset="-122"/>
              <a:ea typeface="等线" panose="02010600030101010101" charset="-122"/>
              <a:cs typeface="等线" panose="02010600030101010101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84854" y="4998173"/>
            <a:ext cx="6508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lnSpc>
                <a:spcPct val="100000"/>
              </a:lnSpc>
              <a:buFont typeface="+mj-lt"/>
              <a:buNone/>
            </a:pP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多核：有利于同时运行多个程序，执行速度快，不易造成卡顿</a:t>
            </a:r>
            <a:endParaRPr lang="en-US" altLang="zh-CN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B6C92A93-98E7-47C7-8224-C0E3EA55B55F}"/>
              </a:ext>
            </a:extLst>
          </p:cNvPr>
          <p:cNvSpPr/>
          <p:nvPr/>
        </p:nvSpPr>
        <p:spPr>
          <a:xfrm>
            <a:off x="364363" y="887386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F83E01D6-794E-41E5-9C71-6412E0BB0820}"/>
              </a:ext>
            </a:extLst>
          </p:cNvPr>
          <p:cNvSpPr/>
          <p:nvPr/>
        </p:nvSpPr>
        <p:spPr>
          <a:xfrm>
            <a:off x="364363" y="2061042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3F661878-ED7D-4C23-9266-92DC813A8A5D}"/>
              </a:ext>
            </a:extLst>
          </p:cNvPr>
          <p:cNvSpPr/>
          <p:nvPr/>
        </p:nvSpPr>
        <p:spPr>
          <a:xfrm>
            <a:off x="364362" y="4441885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79B80A1-66BD-4E01-8179-D55ED80AA15E}"/>
              </a:ext>
            </a:extLst>
          </p:cNvPr>
          <p:cNvSpPr txBox="1"/>
          <p:nvPr/>
        </p:nvSpPr>
        <p:spPr>
          <a:xfrm>
            <a:off x="640217" y="4355190"/>
            <a:ext cx="736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比较</a:t>
            </a:r>
          </a:p>
        </p:txBody>
      </p:sp>
      <p:sp>
        <p:nvSpPr>
          <p:cNvPr id="17" name="左大括号 16">
            <a:extLst>
              <a:ext uri="{FF2B5EF4-FFF2-40B4-BE49-F238E27FC236}">
                <a16:creationId xmlns:a16="http://schemas.microsoft.com/office/drawing/2014/main" id="{667DA87D-EAA6-4022-BBC8-5B872ABD1D23}"/>
              </a:ext>
            </a:extLst>
          </p:cNvPr>
          <p:cNvSpPr/>
          <p:nvPr/>
        </p:nvSpPr>
        <p:spPr>
          <a:xfrm>
            <a:off x="1456977" y="3888030"/>
            <a:ext cx="494030" cy="130365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C35CAE3-800B-4C73-B435-0552C4E8446B}"/>
              </a:ext>
            </a:extLst>
          </p:cNvPr>
          <p:cNvSpPr txBox="1"/>
          <p:nvPr/>
        </p:nvSpPr>
        <p:spPr>
          <a:xfrm>
            <a:off x="2103258" y="3706898"/>
            <a:ext cx="650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lnSpc>
                <a:spcPct val="100000"/>
              </a:lnSpc>
              <a:buFont typeface="+mj-lt"/>
              <a:buNone/>
            </a:pPr>
            <a:r>
              <a:rPr lang="en-US" altLang="zh-CN" dirty="0" err="1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单核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：无法</a:t>
            </a:r>
            <a:r>
              <a:rPr lang="en-US" altLang="zh-CN" dirty="0" err="1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同时运行多个程序，执行速度慢，容易造成卡顿</a:t>
            </a:r>
            <a:endParaRPr lang="en-US" altLang="zh-CN" dirty="0">
              <a:latin typeface="华文中宋" panose="02010600040101010101" pitchFamily="2" charset="-122"/>
              <a:ea typeface="华文中宋" panose="02010600040101010101" pitchFamily="2" charset="-122"/>
              <a:cs typeface="苹方-简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7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7" grpId="0"/>
      <p:bldP spid="2" grpId="0"/>
      <p:bldP spid="13" grpId="0" animBg="1"/>
      <p:bldP spid="14" grpId="0" animBg="1"/>
      <p:bldP spid="15" grpId="0" animBg="1"/>
      <p:bldP spid="3" grpId="0"/>
      <p:bldP spid="17" grpId="0" animBg="1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/>
          <p:cNvSpPr txBox="1"/>
          <p:nvPr/>
        </p:nvSpPr>
        <p:spPr>
          <a:xfrm>
            <a:off x="4844758" y="1471658"/>
            <a:ext cx="2502462" cy="50719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multiprogramming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sym typeface="Century Gothic" panose="020B0502020202020204" pitchFamily="34" charset="0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5080330" y="1178532"/>
            <a:ext cx="203132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400" dirty="0">
                <a:latin typeface="华文中宋" panose="02010600040101010101" pitchFamily="2" charset="-122"/>
                <a:ea typeface="华文中宋" panose="02010600040101010101" pitchFamily="2" charset="-122"/>
                <a:cs typeface="经典综艺体简" panose="02010609000101010101" pitchFamily="49" charset="-122"/>
                <a:sym typeface="Century Gothic" panose="020B0502020202020204" pitchFamily="34" charset="0"/>
              </a:rPr>
              <a:t>多道程序设计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中宋" panose="02010600040101010101" pitchFamily="2" charset="-122"/>
              <a:ea typeface="华文中宋" panose="02010600040101010101" pitchFamily="2" charset="-122"/>
              <a:cs typeface="经典综艺体简" panose="02010609000101010101" pitchFamily="49" charset="-122"/>
              <a:sym typeface="Century Gothic" panose="020B0502020202020204" pitchFamily="34" charset="0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169298" y="183284"/>
            <a:ext cx="2471623" cy="460375"/>
            <a:chOff x="169298" y="183284"/>
            <a:chExt cx="2471623" cy="460375"/>
          </a:xfrm>
        </p:grpSpPr>
        <p:sp>
          <p:nvSpPr>
            <p:cNvPr id="15" name="文本框 14"/>
            <p:cNvSpPr txBox="1"/>
            <p:nvPr/>
          </p:nvSpPr>
          <p:spPr>
            <a:xfrm>
              <a:off x="629241" y="183284"/>
              <a:ext cx="2011680" cy="46037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华文中宋" panose="02010600040101010101" pitchFamily="2" charset="-122"/>
                  <a:ea typeface="华文中宋" panose="02010600040101010101" pitchFamily="2" charset="-122"/>
                  <a:sym typeface="Century Gothic" panose="020B0502020202020204" pitchFamily="34" charset="0"/>
                </a:rPr>
                <a:t>操作系统结构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endParaRPr>
            </a:p>
          </p:txBody>
        </p:sp>
        <p:sp>
          <p:nvSpPr>
            <p:cNvPr id="13" name="圆角矩形 9"/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微软雅黑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4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45946" y="1198481"/>
            <a:ext cx="3952876" cy="10990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多道程序设计通过安排作业（编码或数据）使得</a:t>
            </a:r>
            <a:r>
              <a:rPr kumimoji="1"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CPU</a:t>
            </a: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总有一个执行作业，从而提高</a:t>
            </a:r>
            <a:r>
              <a:rPr kumimoji="1"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CPU</a:t>
            </a: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利用率</a:t>
            </a:r>
          </a:p>
        </p:txBody>
      </p:sp>
      <p:cxnSp>
        <p:nvCxnSpPr>
          <p:cNvPr id="6" name="直线箭头连接符 5"/>
          <p:cNvCxnSpPr/>
          <p:nvPr/>
        </p:nvCxnSpPr>
        <p:spPr>
          <a:xfrm>
            <a:off x="6095989" y="2408061"/>
            <a:ext cx="0" cy="1652628"/>
          </a:xfrm>
          <a:prstGeom prst="straightConnector1">
            <a:avLst/>
          </a:prstGeom>
          <a:ln w="762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6271947" y="2807107"/>
            <a:ext cx="5772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000" dirty="0"/>
              <a:t>延伸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4958317" y="1012309"/>
            <a:ext cx="2275355" cy="1255776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20" name="图片 19" descr="表格&#10;&#10;描述已自动生成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73" y="3035162"/>
            <a:ext cx="2498581" cy="3601969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449655" y="2551539"/>
            <a:ext cx="3949168" cy="40652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操作系统在内存中同时保存多个任务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7793156" y="1182955"/>
            <a:ext cx="3949169" cy="10990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分时操作系统采用</a:t>
            </a:r>
            <a:r>
              <a:rPr kumimoji="1"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CPU</a:t>
            </a: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调度和多道程序设计，为每个用户提供一小部分的分时计算机资源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5388104" y="4486559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经典综艺体简" panose="02010609000101010101" pitchFamily="49" charset="-122"/>
                <a:sym typeface="Century Gothic" panose="020B0502020202020204" pitchFamily="34" charset="0"/>
              </a:rPr>
              <a:t>分时系统</a:t>
            </a:r>
          </a:p>
        </p:txBody>
      </p:sp>
      <p:sp>
        <p:nvSpPr>
          <p:cNvPr id="36" name="圆角矩形 35"/>
          <p:cNvSpPr/>
          <p:nvPr/>
        </p:nvSpPr>
        <p:spPr>
          <a:xfrm>
            <a:off x="3687793" y="2674202"/>
            <a:ext cx="5195457" cy="13723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圆角矩形 34"/>
          <p:cNvSpPr/>
          <p:nvPr/>
        </p:nvSpPr>
        <p:spPr>
          <a:xfrm>
            <a:off x="4958314" y="4322394"/>
            <a:ext cx="2275355" cy="1255776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文本框 25"/>
          <p:cNvSpPr txBox="1"/>
          <p:nvPr/>
        </p:nvSpPr>
        <p:spPr>
          <a:xfrm>
            <a:off x="5297034" y="4777142"/>
            <a:ext cx="1597911" cy="5071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  <a:defRPr/>
            </a:pP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time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 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sharing</a:t>
            </a:r>
            <a:endParaRPr lang="zh-CN" altLang="en-US" sz="16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8790885" y="51014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  <p:sp>
        <p:nvSpPr>
          <p:cNvPr id="37" name="文本框 36"/>
          <p:cNvSpPr txBox="1"/>
          <p:nvPr/>
        </p:nvSpPr>
        <p:spPr>
          <a:xfrm>
            <a:off x="3871559" y="2682980"/>
            <a:ext cx="4800775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/>
              <a:t>多道程序系统提供了一个可以充分使用各种系统资源的环境，如</a:t>
            </a:r>
            <a:r>
              <a:rPr kumimoji="1" lang="en-US" altLang="zh-CN" dirty="0"/>
              <a:t>CPU</a:t>
            </a:r>
            <a:r>
              <a:rPr kumimoji="1" lang="zh-CN" altLang="en-US" dirty="0"/>
              <a:t>、内存、外设，但是它</a:t>
            </a: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没有提供与计算机系统直接交互的能力</a:t>
            </a:r>
          </a:p>
        </p:txBody>
      </p:sp>
      <p:sp>
        <p:nvSpPr>
          <p:cNvPr id="40" name="圆角矩形 39"/>
          <p:cNvSpPr/>
          <p:nvPr/>
        </p:nvSpPr>
        <p:spPr>
          <a:xfrm>
            <a:off x="3757220" y="2695258"/>
            <a:ext cx="4800775" cy="87617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1" name="文本框 40"/>
          <p:cNvSpPr txBox="1"/>
          <p:nvPr/>
        </p:nvSpPr>
        <p:spPr>
          <a:xfrm>
            <a:off x="3921477" y="2704339"/>
            <a:ext cx="4636518" cy="752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分时系统要求计算机系统是可交互的，以便用户与系统直接通信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7793159" y="4134979"/>
            <a:ext cx="3949166" cy="179151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kumimoji="1"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虚拟内存是实现合理响应时间最为常用的一种方法。它将内存抽象成一个庞大的统一的存储数组，将逻辑内存与真正的物理内存区分开来，使程序员不受内存空间的限制</a:t>
            </a:r>
            <a:endParaRPr kumimoji="1" lang="en-US" altLang="zh-CN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4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2" presetClass="exit" presetSubtype="4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8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8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4" grpId="0" bldLvl="0" animBg="1"/>
      <p:bldP spid="7" grpId="0"/>
      <p:bldP spid="8" grpId="0" bldLvl="0" animBg="1"/>
      <p:bldP spid="21" grpId="0" bldLvl="0" animBg="1"/>
      <p:bldP spid="21" grpId="1" bldLvl="0" animBg="1"/>
      <p:bldP spid="23" grpId="0" bldLvl="0" animBg="1"/>
      <p:bldP spid="32" grpId="0"/>
      <p:bldP spid="36" grpId="0" bldLvl="0" animBg="1"/>
      <p:bldP spid="36" grpId="1" bldLvl="0" animBg="1"/>
      <p:bldP spid="35" grpId="0" bldLvl="0" animBg="1"/>
      <p:bldP spid="26" grpId="0"/>
      <p:bldP spid="37" grpId="0"/>
      <p:bldP spid="37" grpId="1"/>
      <p:bldP spid="40" grpId="2" bldLvl="0" animBg="1"/>
      <p:bldP spid="40" grpId="3" bldLvl="0" animBg="1"/>
      <p:bldP spid="41" grpId="0"/>
      <p:bldP spid="41" grpId="1"/>
      <p:bldP spid="42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2587"/>
          <p:cNvSpPr/>
          <p:nvPr/>
        </p:nvSpPr>
        <p:spPr>
          <a:xfrm>
            <a:off x="9477242" y="1801745"/>
            <a:ext cx="487918" cy="4879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6565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3000" dirty="0"/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grpSp>
        <p:nvGrpSpPr>
          <p:cNvPr id="50" name="组合 49"/>
          <p:cNvGrpSpPr/>
          <p:nvPr/>
        </p:nvGrpSpPr>
        <p:grpSpPr>
          <a:xfrm>
            <a:off x="169298" y="184872"/>
            <a:ext cx="2482600" cy="457200"/>
            <a:chOff x="169298" y="184872"/>
            <a:chExt cx="2482600" cy="457200"/>
          </a:xfrm>
        </p:grpSpPr>
        <p:sp>
          <p:nvSpPr>
            <p:cNvPr id="52" name="文本框 51"/>
            <p:cNvSpPr txBox="1"/>
            <p:nvPr/>
          </p:nvSpPr>
          <p:spPr>
            <a:xfrm>
              <a:off x="640218" y="184872"/>
              <a:ext cx="2011680" cy="45720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华文中宋" panose="02010600040101010101" pitchFamily="2" charset="-122"/>
                  <a:ea typeface="华文中宋" panose="02010600040101010101" pitchFamily="2" charset="-122"/>
                  <a:sym typeface="Century Gothic" panose="020B0502020202020204" pitchFamily="34" charset="0"/>
                </a:rPr>
                <a:t>操作系统</a:t>
              </a: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华文中宋" panose="02010600040101010101" pitchFamily="2" charset="-122"/>
                  <a:ea typeface="华文中宋" panose="02010600040101010101" pitchFamily="2" charset="-122"/>
                  <a:sym typeface="Century Gothic" panose="020B0502020202020204" pitchFamily="34" charset="0"/>
                </a:rPr>
                <a:t>操作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endParaRPr>
            </a:p>
          </p:txBody>
        </p:sp>
        <p:sp>
          <p:nvSpPr>
            <p:cNvPr id="54" name="圆角矩形 9"/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微软雅黑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82370" y="267036"/>
              <a:ext cx="457848" cy="304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5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62" name="文本框 61"/>
          <p:cNvSpPr txBox="1"/>
          <p:nvPr/>
        </p:nvSpPr>
        <p:spPr>
          <a:xfrm>
            <a:off x="625525" y="838809"/>
            <a:ext cx="11100742" cy="7252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00000"/>
              </a:lnSpc>
            </a:pP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双重模式操作：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用户模式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和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内核模式</a:t>
            </a:r>
          </a:p>
          <a:p>
            <a:pPr>
              <a:lnSpc>
                <a:spcPct val="100000"/>
              </a:lnSpc>
            </a:pPr>
            <a:r>
              <a:rPr lang="en-US" altLang="zh-CN" dirty="0">
                <a:solidFill>
                  <a:schemeClr val="accent5">
                    <a:lumMod val="7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区分原因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：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为了计算机系统的正常运行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，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有些硬件资源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（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比如中断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）和</a:t>
            </a: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特权指令是不可以对用户进程开放的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。</a:t>
            </a:r>
          </a:p>
        </p:txBody>
      </p:sp>
      <p:sp>
        <p:nvSpPr>
          <p:cNvPr id="67" name="文本框 66"/>
          <p:cNvSpPr txBox="1"/>
          <p:nvPr/>
        </p:nvSpPr>
        <p:spPr>
          <a:xfrm>
            <a:off x="554349" y="5372296"/>
            <a:ext cx="11337348" cy="12186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00000"/>
              </a:lnSpc>
            </a:pP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定时器：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定时器属于内部设备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。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其作用是用于计时系统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（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实现软件计时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）、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代替较长时间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的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delay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、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提高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CPU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运行效率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。</a:t>
            </a:r>
            <a:endParaRPr lang="en-US" altLang="zh-CN" sz="16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pPr>
              <a:lnSpc>
                <a:spcPct val="100000"/>
              </a:lnSpc>
            </a:pPr>
            <a:endParaRPr lang="zh-CN" altLang="en-US" sz="16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pPr>
              <a:lnSpc>
                <a:spcPct val="100000"/>
              </a:lnSpc>
            </a:pPr>
            <a:r>
              <a:rPr lang="en-US" altLang="zh-CN" dirty="0">
                <a:latin typeface="华文中宋" panose="02010600040101010101" pitchFamily="2" charset="-122"/>
                <a:ea typeface="华文中宋" panose="02010600040101010101" pitchFamily="2" charset="-122"/>
              </a:rPr>
              <a:t>工作流程</a:t>
            </a:r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：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根据输出信号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每隔一段时间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计数单元数值增加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一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当计数单元数值增加到设定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的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时间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时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计数单元向中断发出中断请求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程序跳转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到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中断函数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</a:rPr>
              <a:t>。</a:t>
            </a:r>
            <a:endParaRPr lang="en-US" altLang="zh-CN" sz="16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2BA70EE8-4A17-4357-A3ED-0833E18A5A71}"/>
              </a:ext>
            </a:extLst>
          </p:cNvPr>
          <p:cNvSpPr/>
          <p:nvPr/>
        </p:nvSpPr>
        <p:spPr>
          <a:xfrm>
            <a:off x="364363" y="887386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0D5C48BB-903F-47A3-B156-15871919491E}"/>
              </a:ext>
            </a:extLst>
          </p:cNvPr>
          <p:cNvSpPr/>
          <p:nvPr/>
        </p:nvSpPr>
        <p:spPr>
          <a:xfrm>
            <a:off x="358406" y="2092002"/>
            <a:ext cx="195943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D6B1F3ED-4FB3-42E8-BF41-BE7D0FBC8FFE}"/>
              </a:ext>
            </a:extLst>
          </p:cNvPr>
          <p:cNvSpPr/>
          <p:nvPr/>
        </p:nvSpPr>
        <p:spPr>
          <a:xfrm>
            <a:off x="351489" y="5413290"/>
            <a:ext cx="202860" cy="1959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C090B8F-0B33-4959-95D8-2AF391BB1E30}"/>
              </a:ext>
            </a:extLst>
          </p:cNvPr>
          <p:cNvSpPr txBox="1"/>
          <p:nvPr/>
        </p:nvSpPr>
        <p:spPr>
          <a:xfrm>
            <a:off x="640218" y="3244334"/>
            <a:ext cx="1277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切换过程</a:t>
            </a:r>
          </a:p>
        </p:txBody>
      </p:sp>
      <p:sp>
        <p:nvSpPr>
          <p:cNvPr id="17" name="左大括号 16">
            <a:extLst>
              <a:ext uri="{FF2B5EF4-FFF2-40B4-BE49-F238E27FC236}">
                <a16:creationId xmlns:a16="http://schemas.microsoft.com/office/drawing/2014/main" id="{A9B26E2F-6352-41D7-8970-91E764729638}"/>
              </a:ext>
            </a:extLst>
          </p:cNvPr>
          <p:cNvSpPr/>
          <p:nvPr/>
        </p:nvSpPr>
        <p:spPr>
          <a:xfrm>
            <a:off x="1839793" y="2287945"/>
            <a:ext cx="387047" cy="1867366"/>
          </a:xfrm>
          <a:prstGeom prst="leftBrace">
            <a:avLst>
              <a:gd name="adj1" fmla="val 2247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B53A043-44F2-489C-A556-D935BC399F85}"/>
              </a:ext>
            </a:extLst>
          </p:cNvPr>
          <p:cNvSpPr txBox="1"/>
          <p:nvPr/>
        </p:nvSpPr>
        <p:spPr>
          <a:xfrm>
            <a:off x="2302248" y="2004196"/>
            <a:ext cx="44234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用户模式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到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内核模式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：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 由中断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/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异常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/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系统调用中断用户进程执行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触发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。</a:t>
            </a:r>
            <a:endParaRPr lang="zh-CN" altLang="en-US" sz="1600" dirty="0"/>
          </a:p>
        </p:txBody>
      </p:sp>
      <p:sp>
        <p:nvSpPr>
          <p:cNvPr id="19" name="左大括号 18">
            <a:extLst>
              <a:ext uri="{FF2B5EF4-FFF2-40B4-BE49-F238E27FC236}">
                <a16:creationId xmlns:a16="http://schemas.microsoft.com/office/drawing/2014/main" id="{05237993-E49F-4B6E-ABAE-BEBA30D34106}"/>
              </a:ext>
            </a:extLst>
          </p:cNvPr>
          <p:cNvSpPr/>
          <p:nvPr/>
        </p:nvSpPr>
        <p:spPr>
          <a:xfrm>
            <a:off x="6883521" y="1787558"/>
            <a:ext cx="487917" cy="1127085"/>
          </a:xfrm>
          <a:prstGeom prst="leftBrace">
            <a:avLst>
              <a:gd name="adj1" fmla="val 2247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9F87FED-F511-443E-95F8-D3390BE34E0A}"/>
              </a:ext>
            </a:extLst>
          </p:cNvPr>
          <p:cNvSpPr txBox="1"/>
          <p:nvPr/>
        </p:nvSpPr>
        <p:spPr>
          <a:xfrm>
            <a:off x="7476436" y="1666729"/>
            <a:ext cx="3250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处理器模式转换为内核模式</a:t>
            </a:r>
            <a:endParaRPr lang="zh-CN" altLang="en-US" sz="14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CB8EDE9-BA46-4B9E-BD05-75D2F0238608}"/>
              </a:ext>
            </a:extLst>
          </p:cNvPr>
          <p:cNvSpPr txBox="1"/>
          <p:nvPr/>
        </p:nvSpPr>
        <p:spPr>
          <a:xfrm>
            <a:off x="7476436" y="2157822"/>
            <a:ext cx="3909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保存当前进程</a:t>
            </a:r>
            <a:r>
              <a:rPr lang="zh-CN" altLang="en-US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的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PC/PSW</a:t>
            </a:r>
            <a:r>
              <a:rPr lang="zh-CN" altLang="en-US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值到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核心栈</a:t>
            </a:r>
            <a:endParaRPr lang="zh-CN" altLang="en-US" sz="1400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904E4E6-EAC4-4F0F-A743-F7C4219ED142}"/>
              </a:ext>
            </a:extLst>
          </p:cNvPr>
          <p:cNvSpPr txBox="1"/>
          <p:nvPr/>
        </p:nvSpPr>
        <p:spPr>
          <a:xfrm>
            <a:off x="7476435" y="2714847"/>
            <a:ext cx="3909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转向中断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/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异常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</a:rPr>
              <a:t>/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</a:rPr>
              <a:t>系统调用处理程序</a:t>
            </a:r>
            <a:endParaRPr lang="zh-CN" altLang="en-US" sz="1400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DCC43D45-5635-477A-8F1C-2BAE3F61FB94}"/>
              </a:ext>
            </a:extLst>
          </p:cNvPr>
          <p:cNvSpPr txBox="1"/>
          <p:nvPr/>
        </p:nvSpPr>
        <p:spPr>
          <a:xfrm>
            <a:off x="2302248" y="3796114"/>
            <a:ext cx="44234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内核模式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到用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户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模式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：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  <a:sym typeface="+mn-ea"/>
              </a:rPr>
              <a:t>OS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执行中断返回指令将控制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权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交还用户进程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而</a:t>
            </a:r>
            <a:r>
              <a:rPr lang="en-US" altLang="zh-CN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触发</a:t>
            </a:r>
            <a:r>
              <a:rPr lang="zh-CN" altLang="en-US" sz="16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。</a:t>
            </a:r>
            <a:endParaRPr lang="zh-CN" altLang="en-US" sz="1600" dirty="0">
              <a:latin typeface="华文中宋" panose="02010600040101010101" pitchFamily="2" charset="-122"/>
              <a:ea typeface="华文中宋" panose="02010600040101010101" pitchFamily="2" charset="-122"/>
              <a:cs typeface="苹方-简" charset="0"/>
            </a:endParaRPr>
          </a:p>
        </p:txBody>
      </p: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9500526F-F905-4B93-803A-1DFE4D221FEC}"/>
              </a:ext>
            </a:extLst>
          </p:cNvPr>
          <p:cNvSpPr/>
          <p:nvPr/>
        </p:nvSpPr>
        <p:spPr>
          <a:xfrm>
            <a:off x="6883521" y="3568085"/>
            <a:ext cx="487917" cy="1127085"/>
          </a:xfrm>
          <a:prstGeom prst="leftBrace">
            <a:avLst>
              <a:gd name="adj1" fmla="val 2247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E7286A2C-7162-47FF-82B6-977871910820}"/>
              </a:ext>
            </a:extLst>
          </p:cNvPr>
          <p:cNvSpPr txBox="1"/>
          <p:nvPr/>
        </p:nvSpPr>
        <p:spPr>
          <a:xfrm>
            <a:off x="7476435" y="3473685"/>
            <a:ext cx="42040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lnSpc>
                <a:spcPct val="100000"/>
              </a:lnSpc>
              <a:buFont typeface="+mj-lt"/>
              <a:buNone/>
            </a:pP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从待运行进程核心</a:t>
            </a:r>
            <a:r>
              <a:rPr lang="zh-CN" altLang="en-US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栈中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弹出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Times New Roman" panose="02020603050405020304" charset="0"/>
                <a:sym typeface="+mn-ea"/>
              </a:rPr>
              <a:t>PC/PSW</a:t>
            </a:r>
            <a:r>
              <a:rPr lang="zh-CN" altLang="en-US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值</a:t>
            </a:r>
            <a:endParaRPr lang="zh-CN" altLang="en-US" sz="1400" dirty="0">
              <a:latin typeface="华文中宋" panose="02010600040101010101" pitchFamily="2" charset="-122"/>
              <a:ea typeface="华文中宋" panose="02010600040101010101" pitchFamily="2" charset="-122"/>
              <a:cs typeface="苹方-简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2A6E65E7-BAC5-4C0C-A293-55ABA3C2FA01}"/>
              </a:ext>
            </a:extLst>
          </p:cNvPr>
          <p:cNvSpPr txBox="1"/>
          <p:nvPr/>
        </p:nvSpPr>
        <p:spPr>
          <a:xfrm>
            <a:off x="7476435" y="4525991"/>
            <a:ext cx="37786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lnSpc>
                <a:spcPct val="100000"/>
              </a:lnSpc>
              <a:buFont typeface="+mj-lt"/>
              <a:buNone/>
            </a:pP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处理器模式转换</a:t>
            </a:r>
            <a:r>
              <a:rPr lang="zh-CN" altLang="en-US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为</a:t>
            </a:r>
            <a:r>
              <a:rPr lang="en-US" altLang="zh-CN" sz="1400" dirty="0">
                <a:latin typeface="华文中宋" panose="02010600040101010101" pitchFamily="2" charset="-122"/>
                <a:ea typeface="华文中宋" panose="02010600040101010101" pitchFamily="2" charset="-122"/>
                <a:cs typeface="苹方-简" charset="0"/>
                <a:sym typeface="+mn-ea"/>
              </a:rPr>
              <a:t>用户模式</a:t>
            </a:r>
            <a:endParaRPr lang="zh-CN" altLang="en-US" sz="1400" dirty="0">
              <a:latin typeface="华文中宋" panose="02010600040101010101" pitchFamily="2" charset="-122"/>
              <a:ea typeface="华文中宋" panose="02010600040101010101" pitchFamily="2" charset="-122"/>
              <a:cs typeface="苹方-简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40E5749-8D3F-4916-B560-42E09D06EC21}"/>
              </a:ext>
            </a:extLst>
          </p:cNvPr>
          <p:cNvSpPr txBox="1"/>
          <p:nvPr/>
        </p:nvSpPr>
        <p:spPr>
          <a:xfrm>
            <a:off x="6778523" y="1924693"/>
            <a:ext cx="195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华文中宋" panose="02010600040101010101" pitchFamily="2" charset="-122"/>
                <a:ea typeface="华文中宋" panose="02010600040101010101" pitchFamily="2" charset="-122"/>
              </a:rPr>
              <a:t>何时发生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20D0675D-645C-4035-9D25-46C21D28F8D9}"/>
              </a:ext>
            </a:extLst>
          </p:cNvPr>
          <p:cNvSpPr txBox="1"/>
          <p:nvPr/>
        </p:nvSpPr>
        <p:spPr>
          <a:xfrm>
            <a:off x="6778522" y="3716128"/>
            <a:ext cx="195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华文中宋" panose="02010600040101010101" pitchFamily="2" charset="-122"/>
                <a:ea typeface="华文中宋" panose="02010600040101010101" pitchFamily="2" charset="-122"/>
              </a:rPr>
              <a:t>何时发生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0464A6F-C871-4E0E-A74F-122AD7F1A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7972" y="2592568"/>
            <a:ext cx="2975188" cy="12035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67" grpId="0"/>
      <p:bldP spid="13" grpId="0" animBg="1"/>
      <p:bldP spid="14" grpId="0" animBg="1"/>
      <p:bldP spid="15" grpId="0" animBg="1"/>
      <p:bldP spid="2" grpId="0"/>
      <p:bldP spid="17" grpId="0" animBg="1"/>
      <p:bldP spid="3" grpId="0"/>
      <p:bldP spid="19" grpId="0" animBg="1"/>
      <p:bldP spid="4" grpId="0"/>
      <p:bldP spid="21" grpId="0"/>
      <p:bldP spid="22" grpId="0"/>
      <p:bldP spid="23" grpId="0"/>
      <p:bldP spid="24" grpId="0" animBg="1"/>
      <p:bldP spid="25" grpId="0"/>
      <p:bldP spid="27" grpId="0"/>
      <p:bldP spid="6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梯形 8"/>
          <p:cNvSpPr/>
          <p:nvPr/>
        </p:nvSpPr>
        <p:spPr>
          <a:xfrm rot="5400000">
            <a:off x="98210" y="308812"/>
            <a:ext cx="6043960" cy="6240378"/>
          </a:xfrm>
          <a:prstGeom prst="trapezoid">
            <a:avLst>
              <a:gd name="adj" fmla="val 17635"/>
            </a:avLst>
          </a:prstGeom>
          <a:gradFill>
            <a:gsLst>
              <a:gs pos="0">
                <a:srgbClr val="24563C">
                  <a:alpha val="57000"/>
                </a:srgbClr>
              </a:gs>
              <a:gs pos="100000">
                <a:srgbClr val="24563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图片 310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754984" y="4333716"/>
            <a:ext cx="2540666" cy="352584"/>
          </a:xfrm>
          <a:prstGeom prst="rect">
            <a:avLst/>
          </a:prstGeom>
        </p:spPr>
        <p:txBody>
          <a:bodyPr>
            <a:normAutofit fontScale="97500"/>
          </a:bodyPr>
          <a:lstStyle/>
          <a:p>
            <a:r>
              <a:rPr lang="zh-CN" altLang="en-US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汇报小组：第一小组</a:t>
            </a:r>
            <a:endParaRPr lang="en-US" altLang="zh-CN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4294967295"/>
          </p:nvPr>
        </p:nvSpPr>
        <p:spPr>
          <a:xfrm>
            <a:off x="754984" y="4725237"/>
            <a:ext cx="2540666" cy="35258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altLang="zh-CN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Date: 2021.06.15</a:t>
            </a:r>
          </a:p>
        </p:txBody>
      </p:sp>
      <p:sp>
        <p:nvSpPr>
          <p:cNvPr id="11" name="文本框 27"/>
          <p:cNvSpPr txBox="1"/>
          <p:nvPr/>
        </p:nvSpPr>
        <p:spPr>
          <a:xfrm>
            <a:off x="770297" y="1715155"/>
            <a:ext cx="4535127" cy="1754326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5400" b="1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ea"/>
              <a:ea typeface="+mj-ea"/>
              <a:sym typeface="Century Gothic" panose="020B0502020202020204" pitchFamily="34" charset="0"/>
            </a:endParaRPr>
          </a:p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5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sym typeface="Century Gothic" panose="020B0502020202020204" pitchFamily="34" charset="0"/>
              </a:rPr>
              <a:t>感谢您的聆听</a:t>
            </a:r>
          </a:p>
        </p:txBody>
      </p:sp>
      <p:sp>
        <p:nvSpPr>
          <p:cNvPr id="12" name="文本框 2"/>
          <p:cNvSpPr txBox="1"/>
          <p:nvPr/>
        </p:nvSpPr>
        <p:spPr>
          <a:xfrm>
            <a:off x="770296" y="1740322"/>
            <a:ext cx="31349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THANKS</a:t>
            </a:r>
            <a:endParaRPr lang="zh-CN" altLang="en-US" sz="4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6642359" y="185665"/>
            <a:ext cx="5702046" cy="6858001"/>
            <a:chOff x="6489959" y="0"/>
            <a:chExt cx="5702046" cy="6858001"/>
          </a:xfrm>
          <a:blipFill dpi="0" rotWithShape="1">
            <a:blip r:embed="rId7"/>
            <a:srcRect/>
            <a:stretch>
              <a:fillRect/>
            </a:stretch>
          </a:blipFill>
        </p:grpSpPr>
        <p:sp>
          <p:nvSpPr>
            <p:cNvPr id="14" name="梯形 13"/>
            <p:cNvSpPr/>
            <p:nvPr/>
          </p:nvSpPr>
          <p:spPr>
            <a:xfrm rot="16200000" flipH="1">
              <a:off x="8506328" y="3172325"/>
              <a:ext cx="6858001" cy="513352"/>
            </a:xfrm>
            <a:prstGeom prst="trapezoid">
              <a:avLst>
                <a:gd name="adj" fmla="val 5826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6489959" y="407020"/>
              <a:ext cx="5030529" cy="6043960"/>
            </a:xfrm>
            <a:custGeom>
              <a:avLst/>
              <a:gdLst>
                <a:gd name="connsiteX0" fmla="*/ 0 w 5030529"/>
                <a:gd name="connsiteY0" fmla="*/ 896394 h 6858000"/>
                <a:gd name="connsiteX1" fmla="*/ 963967 w 5030529"/>
                <a:gd name="connsiteY1" fmla="*/ 896394 h 6858000"/>
                <a:gd name="connsiteX2" fmla="*/ 963967 w 5030529"/>
                <a:gd name="connsiteY2" fmla="*/ 5961607 h 6858000"/>
                <a:gd name="connsiteX3" fmla="*/ 0 w 5030529"/>
                <a:gd name="connsiteY3" fmla="*/ 5961607 h 6858000"/>
                <a:gd name="connsiteX4" fmla="*/ 1221723 w 5030529"/>
                <a:gd name="connsiteY4" fmla="*/ 662486 h 6858000"/>
                <a:gd name="connsiteX5" fmla="*/ 2185690 w 5030529"/>
                <a:gd name="connsiteY5" fmla="*/ 662486 h 6858000"/>
                <a:gd name="connsiteX6" fmla="*/ 2185690 w 5030529"/>
                <a:gd name="connsiteY6" fmla="*/ 6195514 h 6858000"/>
                <a:gd name="connsiteX7" fmla="*/ 1221723 w 5030529"/>
                <a:gd name="connsiteY7" fmla="*/ 6195514 h 6858000"/>
                <a:gd name="connsiteX8" fmla="*/ 2443446 w 5030529"/>
                <a:gd name="connsiteY8" fmla="*/ 360363 h 6858000"/>
                <a:gd name="connsiteX9" fmla="*/ 3512685 w 5030529"/>
                <a:gd name="connsiteY9" fmla="*/ 360363 h 6858000"/>
                <a:gd name="connsiteX10" fmla="*/ 3512685 w 5030529"/>
                <a:gd name="connsiteY10" fmla="*/ 6497638 h 6858000"/>
                <a:gd name="connsiteX11" fmla="*/ 2443446 w 5030529"/>
                <a:gd name="connsiteY11" fmla="*/ 6497638 h 6858000"/>
                <a:gd name="connsiteX12" fmla="*/ 3770441 w 5030529"/>
                <a:gd name="connsiteY12" fmla="*/ 0 h 6858000"/>
                <a:gd name="connsiteX13" fmla="*/ 5030529 w 5030529"/>
                <a:gd name="connsiteY13" fmla="*/ 0 h 6858000"/>
                <a:gd name="connsiteX14" fmla="*/ 5030529 w 5030529"/>
                <a:gd name="connsiteY14" fmla="*/ 6858000 h 6858000"/>
                <a:gd name="connsiteX15" fmla="*/ 3770441 w 5030529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30529" h="6858000">
                  <a:moveTo>
                    <a:pt x="0" y="896394"/>
                  </a:moveTo>
                  <a:lnTo>
                    <a:pt x="963967" y="896394"/>
                  </a:lnTo>
                  <a:lnTo>
                    <a:pt x="963967" y="5961607"/>
                  </a:lnTo>
                  <a:lnTo>
                    <a:pt x="0" y="5961607"/>
                  </a:lnTo>
                  <a:close/>
                  <a:moveTo>
                    <a:pt x="1221723" y="662486"/>
                  </a:moveTo>
                  <a:lnTo>
                    <a:pt x="2185690" y="662486"/>
                  </a:lnTo>
                  <a:lnTo>
                    <a:pt x="2185690" y="6195514"/>
                  </a:lnTo>
                  <a:lnTo>
                    <a:pt x="1221723" y="6195514"/>
                  </a:lnTo>
                  <a:close/>
                  <a:moveTo>
                    <a:pt x="2443446" y="360363"/>
                  </a:moveTo>
                  <a:lnTo>
                    <a:pt x="3512685" y="360363"/>
                  </a:lnTo>
                  <a:lnTo>
                    <a:pt x="3512685" y="6497638"/>
                  </a:lnTo>
                  <a:lnTo>
                    <a:pt x="2443446" y="6497638"/>
                  </a:lnTo>
                  <a:close/>
                  <a:moveTo>
                    <a:pt x="3770441" y="0"/>
                  </a:moveTo>
                  <a:lnTo>
                    <a:pt x="5030529" y="0"/>
                  </a:lnTo>
                  <a:lnTo>
                    <a:pt x="5030529" y="6858000"/>
                  </a:lnTo>
                  <a:lnTo>
                    <a:pt x="3770441" y="6858000"/>
                  </a:lnTo>
                  <a:close/>
                </a:path>
              </a:pathLst>
            </a:custGeom>
            <a:grpFill/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6642359" y="152400"/>
            <a:ext cx="5702046" cy="6858001"/>
            <a:chOff x="6489959" y="0"/>
            <a:chExt cx="5702046" cy="6858001"/>
          </a:xfrm>
          <a:solidFill>
            <a:srgbClr val="587E6A">
              <a:alpha val="49000"/>
            </a:srgbClr>
          </a:solidFill>
        </p:grpSpPr>
        <p:sp>
          <p:nvSpPr>
            <p:cNvPr id="17" name="梯形 16"/>
            <p:cNvSpPr/>
            <p:nvPr/>
          </p:nvSpPr>
          <p:spPr>
            <a:xfrm rot="16200000" flipH="1">
              <a:off x="8506328" y="3172325"/>
              <a:ext cx="6858001" cy="513352"/>
            </a:xfrm>
            <a:prstGeom prst="trapezoid">
              <a:avLst>
                <a:gd name="adj" fmla="val 5826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任意多边形: 形状 14"/>
            <p:cNvSpPr/>
            <p:nvPr/>
          </p:nvSpPr>
          <p:spPr>
            <a:xfrm>
              <a:off x="6489959" y="407020"/>
              <a:ext cx="5030529" cy="6043960"/>
            </a:xfrm>
            <a:custGeom>
              <a:avLst/>
              <a:gdLst>
                <a:gd name="connsiteX0" fmla="*/ 0 w 5030529"/>
                <a:gd name="connsiteY0" fmla="*/ 896394 h 6858000"/>
                <a:gd name="connsiteX1" fmla="*/ 963967 w 5030529"/>
                <a:gd name="connsiteY1" fmla="*/ 896394 h 6858000"/>
                <a:gd name="connsiteX2" fmla="*/ 963967 w 5030529"/>
                <a:gd name="connsiteY2" fmla="*/ 5961607 h 6858000"/>
                <a:gd name="connsiteX3" fmla="*/ 0 w 5030529"/>
                <a:gd name="connsiteY3" fmla="*/ 5961607 h 6858000"/>
                <a:gd name="connsiteX4" fmla="*/ 1221723 w 5030529"/>
                <a:gd name="connsiteY4" fmla="*/ 662486 h 6858000"/>
                <a:gd name="connsiteX5" fmla="*/ 2185690 w 5030529"/>
                <a:gd name="connsiteY5" fmla="*/ 662486 h 6858000"/>
                <a:gd name="connsiteX6" fmla="*/ 2185690 w 5030529"/>
                <a:gd name="connsiteY6" fmla="*/ 6195514 h 6858000"/>
                <a:gd name="connsiteX7" fmla="*/ 1221723 w 5030529"/>
                <a:gd name="connsiteY7" fmla="*/ 6195514 h 6858000"/>
                <a:gd name="connsiteX8" fmla="*/ 2443446 w 5030529"/>
                <a:gd name="connsiteY8" fmla="*/ 360363 h 6858000"/>
                <a:gd name="connsiteX9" fmla="*/ 3512685 w 5030529"/>
                <a:gd name="connsiteY9" fmla="*/ 360363 h 6858000"/>
                <a:gd name="connsiteX10" fmla="*/ 3512685 w 5030529"/>
                <a:gd name="connsiteY10" fmla="*/ 6497638 h 6858000"/>
                <a:gd name="connsiteX11" fmla="*/ 2443446 w 5030529"/>
                <a:gd name="connsiteY11" fmla="*/ 6497638 h 6858000"/>
                <a:gd name="connsiteX12" fmla="*/ 3770441 w 5030529"/>
                <a:gd name="connsiteY12" fmla="*/ 0 h 6858000"/>
                <a:gd name="connsiteX13" fmla="*/ 5030529 w 5030529"/>
                <a:gd name="connsiteY13" fmla="*/ 0 h 6858000"/>
                <a:gd name="connsiteX14" fmla="*/ 5030529 w 5030529"/>
                <a:gd name="connsiteY14" fmla="*/ 6858000 h 6858000"/>
                <a:gd name="connsiteX15" fmla="*/ 3770441 w 5030529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30529" h="6858000">
                  <a:moveTo>
                    <a:pt x="0" y="896394"/>
                  </a:moveTo>
                  <a:lnTo>
                    <a:pt x="963967" y="896394"/>
                  </a:lnTo>
                  <a:lnTo>
                    <a:pt x="963967" y="5961607"/>
                  </a:lnTo>
                  <a:lnTo>
                    <a:pt x="0" y="5961607"/>
                  </a:lnTo>
                  <a:close/>
                  <a:moveTo>
                    <a:pt x="1221723" y="662486"/>
                  </a:moveTo>
                  <a:lnTo>
                    <a:pt x="2185690" y="662486"/>
                  </a:lnTo>
                  <a:lnTo>
                    <a:pt x="2185690" y="6195514"/>
                  </a:lnTo>
                  <a:lnTo>
                    <a:pt x="1221723" y="6195514"/>
                  </a:lnTo>
                  <a:close/>
                  <a:moveTo>
                    <a:pt x="2443446" y="360363"/>
                  </a:moveTo>
                  <a:lnTo>
                    <a:pt x="3512685" y="360363"/>
                  </a:lnTo>
                  <a:lnTo>
                    <a:pt x="3512685" y="6497638"/>
                  </a:lnTo>
                  <a:lnTo>
                    <a:pt x="2443446" y="6497638"/>
                  </a:lnTo>
                  <a:close/>
                  <a:moveTo>
                    <a:pt x="3770441" y="0"/>
                  </a:moveTo>
                  <a:lnTo>
                    <a:pt x="5030529" y="0"/>
                  </a:lnTo>
                  <a:lnTo>
                    <a:pt x="5030529" y="6858000"/>
                  </a:lnTo>
                  <a:lnTo>
                    <a:pt x="3770441" y="6858000"/>
                  </a:lnTo>
                  <a:close/>
                </a:path>
              </a:pathLst>
            </a:custGeom>
            <a:grpFill/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">
        <p:fade/>
      </p:transition>
    </mc:Choice>
    <mc:Fallback xmlns="">
      <p:transition spd="med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0" animBg="1"/>
      <p:bldP spid="6" grpId="0" build="p"/>
      <p:bldP spid="7" grpId="0" build="p"/>
      <p:bldP spid="11" grpId="0"/>
      <p:bldP spid="1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包图主题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</TotalTime>
  <Words>564</Words>
  <Application>Microsoft Macintosh PowerPoint</Application>
  <PresentationFormat>宽屏</PresentationFormat>
  <Paragraphs>98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7" baseType="lpstr">
      <vt:lpstr>等线</vt:lpstr>
      <vt:lpstr>华文中宋</vt:lpstr>
      <vt:lpstr>微软雅黑</vt:lpstr>
      <vt:lpstr>Arial</vt:lpstr>
      <vt:lpstr>Century Gothic</vt:lpstr>
      <vt:lpstr>Gill Sans</vt:lpstr>
      <vt:lpstr>包图主题2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</dc:title>
  <dc:creator>007</dc:creator>
  <cp:lastModifiedBy>Jiang Peifeng</cp:lastModifiedBy>
  <cp:revision>209</cp:revision>
  <dcterms:created xsi:type="dcterms:W3CDTF">2018-11-21T06:40:00Z</dcterms:created>
  <dcterms:modified xsi:type="dcterms:W3CDTF">2021-06-23T06:4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3.0.9228</vt:lpwstr>
  </property>
</Properties>
</file>